
<file path=[Content_Types].xml><?xml version="1.0" encoding="utf-8"?>
<Types xmlns="http://schemas.openxmlformats.org/package/2006/content-types">
  <Override PartName="/ppt/theme/theme5.xml" ContentType="application/vnd.openxmlformats-officedocument.theme+xml"/>
  <Override PartName="/ppt/slideLayouts/slideLayout307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269.xml" ContentType="application/vnd.openxmlformats-officedocument.presentationml.slideLayout+xml"/>
  <Default Extension="xml" ContentType="application/xml"/>
  <Override PartName="/ppt/slideLayouts/slideLayout24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310.xml" ContentType="application/vnd.openxmlformats-officedocument.presentationml.slideLayout+xml"/>
  <Override PartName="/ppt/theme/theme29.xml" ContentType="application/vnd.openxmlformats-officedocument.theme+xml"/>
  <Override PartName="/ppt/slideMasters/slideMaster33.xml" ContentType="application/vnd.openxmlformats-officedocument.presentationml.slideMaster+xml"/>
  <Override PartName="/ppt/slideLayouts/slideLayout102.xml" ContentType="application/vnd.openxmlformats-officedocument.presentationml.slideLayout+xml"/>
  <Override PartName="/ppt/slideMasters/slideMaster8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Layouts/slideLayout225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348.xml" ContentType="application/vnd.openxmlformats-officedocument.presentationml.slideLayout+xml"/>
  <Override PartName="/ppt/theme/theme32.xml" ContentType="application/vnd.openxmlformats-officedocument.theme+xml"/>
  <Override PartName="/ppt/slideLayouts/slideLayout87.xml" ContentType="application/vnd.openxmlformats-officedocument.presentationml.slideLayout+xml"/>
  <Override PartName="/ppt/theme/theme10.xml" ContentType="application/vnd.openxmlformats-officedocument.theme+xml"/>
  <Override PartName="/ppt/slideLayouts/slideLayout187.xml" ContentType="application/vnd.openxmlformats-officedocument.presentationml.slideLayout+xml"/>
  <Override PartName="/ppt/slideLayouts/slideLayout326.xml" ContentType="application/vnd.openxmlformats-officedocument.presentationml.slideLayout+xml"/>
  <Default Extension="png" ContentType="image/png"/>
  <Override PartName="/ppt/slideLayouts/slideLayout118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Masters/slideMaster27.xml" ContentType="application/vnd.openxmlformats-officedocument.presentationml.slideMaster+xml"/>
  <Override PartName="/ppt/slideLayouts/slideLayout43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26.xml" ContentType="application/vnd.openxmlformats-officedocument.theme+xml"/>
  <Override PartName="/ppt/slideMasters/slideMaster30.xml" ContentType="application/vnd.openxmlformats-officedocument.presentationml.slideMaster+xml"/>
  <Override PartName="/ppt/slideLayouts/slideLayout244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Masters/slideMaster5.xml" ContentType="application/vnd.openxmlformats-officedocument.presentationml.slideMaster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slideLayouts/slideLayout159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notesSlides/notesSlide4.xml" ContentType="application/vnd.openxmlformats-officedocument.presentationml.notesSlide+xml"/>
  <Override PartName="/ppt/slideLayouts/slideLayout48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tags/tag2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Masters/slideMaster24.xml" ContentType="application/vnd.openxmlformats-officedocument.presentationml.slideMaster+xml"/>
  <Override PartName="/ppt/slideLayouts/slideLayout40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Masters/slideMaster13.xml" ContentType="application/vnd.openxmlformats-officedocument.presentationml.slideMaster+xml"/>
  <Override PartName="/ppt/slideLayouts/slideLayout20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52.xml" ContentType="application/vnd.openxmlformats-officedocument.presentationml.slideLayout+xml"/>
  <Override PartName="/ppt/theme/theme23.xml" ContentType="application/vnd.openxmlformats-officedocument.theme+xml"/>
  <Override PartName="/ppt/slideLayouts/slideLayout263.xml" ContentType="application/vnd.openxmlformats-officedocument.presentationml.slideLayout+xml"/>
  <Override PartName="/ppt/theme/theme34.xml" ContentType="application/vnd.openxmlformats-officedocument.theme+xml"/>
  <Override PartName="/ppt/slideLayouts/slideLayout89.xml" ContentType="application/vnd.openxmlformats-officedocument.presentationml.slideLayout+xml"/>
  <Override PartName="/ppt/theme/theme12.xml" ContentType="application/vnd.openxmlformats-officedocument.theme+xml"/>
  <Override PartName="/ppt/slideLayouts/slideLayout189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Masters/slideMaster2.xml" ContentType="application/vnd.openxmlformats-officedocument.presentationml.slideMaster+xml"/>
  <Override PartName="/ppt/theme/theme4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53.xml" ContentType="application/vnd.openxmlformats-officedocument.presentationml.slideLayout+xml"/>
  <Override PartName="/ppt/notesSlides/notesSlide1.xml" ContentType="application/vnd.openxmlformats-officedocument.presentationml.notesSlide+xml"/>
  <Override PartName="/ppt/slideMasters/slideMaster29.xml" ContentType="application/vnd.openxmlformats-officedocument.presentationml.slideMaster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Masters/slideMaster18.xml" ContentType="application/vnd.openxmlformats-officedocument.presentationml.slideMaster+xml"/>
  <Override PartName="/ppt/slideLayouts/slideLayout34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257.xml" ContentType="application/vnd.openxmlformats-officedocument.presentationml.slideLayout+xml"/>
  <Override PartName="/ppt/theme/theme28.xml" ContentType="application/vnd.openxmlformats-officedocument.theme+xml"/>
  <Override PartName="/ppt/slideMasters/slideMaster32.xml" ContentType="application/vnd.openxmlformats-officedocument.presentationml.slideMaster+xml"/>
  <Override PartName="/ppt/slideLayouts/slideLayout12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17.xml" ContentType="application/vnd.openxmlformats-officedocument.theme+xml"/>
  <Override PartName="/ppt/slideLayouts/slideLayout23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Masters/slideMaster21.xml" ContentType="application/vnd.openxmlformats-officedocument.presentationml.slideMaster+xml"/>
  <Override PartName="/ppt/slideLayouts/slideLayout224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Masters/slideMaster7.xml" ContentType="application/vnd.openxmlformats-officedocument.presentationml.slideMaster+xml"/>
  <Override PartName="/ppt/slideMasters/slideMaster10.xml" ContentType="application/vnd.openxmlformats-officedocument.presentationml.slideMaster+xml"/>
  <Override PartName="/ppt/theme/theme9.xml" ContentType="application/vnd.openxmlformats-officedocument.theme+xml"/>
  <Override PartName="/ppt/slideLayouts/slideLayout213.xml" ContentType="application/vnd.openxmlformats-officedocument.presentationml.slideLayout+xml"/>
  <Override PartName="/ppt/slideLayouts/slideLayout260.xml" ContentType="application/vnd.openxmlformats-officedocument.presentationml.slideLayout+xml"/>
  <Override PartName="/ppt/theme/theme31.xml" ContentType="application/vnd.openxmlformats-officedocument.theme+xml"/>
  <Override PartName="/ppt/slideLayouts/slideLayout34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notesSlides/notesSlide6.xml" ContentType="application/vnd.openxmlformats-officedocument.presentationml.notesSlide+xml"/>
  <Override PartName="/ppt/slideLayouts/slideLayout97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202.xml" ContentType="application/vnd.openxmlformats-officedocument.presentationml.slideLayout+xml"/>
  <Override PartName="/ppt/theme/theme20.xml" ContentType="application/vnd.openxmlformats-officedocument.theme+xml"/>
  <Override PartName="/ppt/slideLayouts/slideLayout336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325.xml" ContentType="application/vnd.openxmlformats-officedocument.presentationml.slideLayout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Masters/slideMaster26.xml" ContentType="application/vnd.openxmlformats-officedocument.presentationml.slideMaster+xml"/>
  <Override PartName="/ppt/slideLayouts/slideLayout42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Masters/slideMaster15.xml" ContentType="application/vnd.openxmlformats-officedocument.presentationml.slideMaster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theme/theme14.xml" ContentType="application/vnd.openxmlformats-officedocument.theme+xml"/>
  <Override PartName="/ppt/slideLayouts/slideLayout243.xml" ContentType="application/vnd.openxmlformats-officedocument.presentationml.slideLayout+xml"/>
  <Override PartName="/ppt/theme/theme25.xml" ContentType="application/vnd.openxmlformats-officedocument.theme+xml"/>
  <Override PartName="/ppt/slideLayouts/slideLayout290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slideLayouts/slideLayout15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344.xml" ContentType="application/vnd.openxmlformats-officedocument.presentationml.slideLayout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19.xml" ContentType="application/vnd.openxmlformats-officedocument.theme+xml"/>
  <Override PartName="/ppt/slideLayouts/slideLayout248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300.xml" ContentType="application/vnd.openxmlformats-officedocument.presentationml.slideLayout+xml"/>
  <Override PartName="/ppt/tags/tag1.xml" ContentType="application/vnd.openxmlformats-officedocument.presentationml.tags+xml"/>
  <Override PartName="/ppt/slideMasters/slideMaster23.xml" ContentType="application/vnd.openxmlformats-officedocument.presentationml.slideMaster+xml"/>
  <Override PartName="/ppt/slideLayouts/slideLayout50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Masters/slideMaster9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Layouts/slideLayout215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349.xml" ContentType="application/vnd.openxmlformats-officedocument.presentationml.slideLayout+xml"/>
  <Override PartName="/ppt/theme/theme33.xml" ContentType="application/vnd.openxmlformats-officedocument.theme+xml"/>
  <Override PartName="/ppt/slideLayouts/slideLayout99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4.xml" ContentType="application/vnd.openxmlformats-officedocument.presentationml.slideLayout+xml"/>
  <Override PartName="/ppt/theme/theme22.xml" ContentType="application/vnd.openxmlformats-officedocument.theme+xml"/>
  <Override PartName="/ppt/slideLayouts/slideLayout251.xml" ContentType="application/vnd.openxmlformats-officedocument.presentationml.slideLayout+xml"/>
  <Override PartName="/ppt/slideLayouts/slideLayout338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slideLayouts/slideLayout88.xml" ContentType="application/vnd.openxmlformats-officedocument.presentationml.slideLayout+xml"/>
  <Override PartName="/ppt/theme/theme11.xml" ContentType="application/vnd.openxmlformats-officedocument.theme+xml"/>
  <Override PartName="/ppt/slideLayouts/slideLayout177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327.xml" ContentType="application/vnd.openxmlformats-officedocument.presentationml.slideLayout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3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Masters/slideMaster28.xml" ContentType="application/vnd.openxmlformats-officedocument.presentationml.slideMaster+xml"/>
  <Override PartName="/ppt/slideLayouts/slideLayout44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330.xml" ContentType="application/vnd.openxmlformats-officedocument.presentationml.slideLayout+xml"/>
  <Default Extension="rels" ContentType="application/vnd.openxmlformats-package.relationships+xml"/>
  <Override PartName="/ppt/slideMasters/slideMaster17.xml" ContentType="application/vnd.openxmlformats-officedocument.presentationml.slideMaster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16.xml" ContentType="application/vnd.openxmlformats-officedocument.theme+xml"/>
  <Override PartName="/ppt/slideLayouts/slideLayout245.xml" ContentType="application/vnd.openxmlformats-officedocument.presentationml.slideLayout+xml"/>
  <Override PartName="/ppt/slideLayouts/slideLayout292.xml" ContentType="application/vnd.openxmlformats-officedocument.presentationml.slideLayout+xml"/>
  <Override PartName="/ppt/theme/theme27.xml" ContentType="application/vnd.openxmlformats-officedocument.theme+xml"/>
  <Override PartName="/ppt/slideMasters/slideMaster31.xml" ContentType="application/vnd.openxmlformats-officedocument.presentationml.slideMaster+xml"/>
  <Override PartName="/ppt/slideLayouts/slideLayout100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Masters/slideMaster6.xml" ContentType="application/vnd.openxmlformats-officedocument.presentationml.slideMaster+xml"/>
  <Override PartName="/ppt/slideMasters/slideMaster20.xml" ContentType="application/vnd.openxmlformats-officedocument.presentationml.slideMaster+xml"/>
  <Override PartName="/ppt/theme/theme8.xml" ContentType="application/vnd.openxmlformats-officedocument.theme+xml"/>
  <Override PartName="/ppt/slideLayouts/slideLayout223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theme/theme30.xml" ContentType="application/vnd.openxmlformats-officedocument.theme+xml"/>
  <Override PartName="/ppt/slideLayouts/slideLayout346.xml" ContentType="application/vnd.openxmlformats-officedocument.presentationml.slideLayout+xml"/>
  <Override PartName="/ppt/notesSlides/notesSlide5.xml" ContentType="application/vnd.openxmlformats-officedocument.presentationml.notesSlide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302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slideMasters/slideMaster25.xml" ContentType="application/vnd.openxmlformats-officedocument.presentationml.slideMaster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Masters/slideMaster14.xml" ContentType="application/vnd.openxmlformats-officedocument.presentationml.slideMaster+xml"/>
  <Override PartName="/ppt/slideLayouts/slideLayout30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64.xml" ContentType="application/vnd.openxmlformats-officedocument.presentationml.slideLayout+xml"/>
  <Override PartName="/ppt/theme/theme35.xml" ContentType="application/vnd.openxmlformats-officedocument.theme+xml"/>
  <Override PartName="/ppt/slideLayouts/slideLayout206.xml" ContentType="application/vnd.openxmlformats-officedocument.presentationml.slideLayout+xml"/>
  <Override PartName="/ppt/slideLayouts/slideLayout253.xml" ContentType="application/vnd.openxmlformats-officedocument.presentationml.slideLayout+xml"/>
  <Override PartName="/ppt/theme/theme24.xml" ContentType="application/vnd.openxmlformats-officedocument.theme+xml"/>
  <Override PartName="/ppt/theme/theme13.xml" ContentType="application/vnd.openxmlformats-officedocument.theme+xml"/>
  <Override PartName="/ppt/slideLayouts/slideLayout179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s/slide8.xml" ContentType="application/vnd.openxmlformats-officedocument.presentationml.slide+xml"/>
  <Override PartName="/ppt/slideLayouts/slideLayout6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Masters/slideMaster3.xml" ContentType="application/vnd.openxmlformats-officedocument.presentationml.slideMaster+xml"/>
  <Override PartName="/ppt/slideLayouts/slideLayout57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343.xml" ContentType="application/vnd.openxmlformats-officedocument.presentationml.slideLayout+xml"/>
  <Override PartName="/ppt/notesSlides/notesSlide2.xml" ContentType="application/vnd.openxmlformats-officedocument.presentationml.notesSlide+xml"/>
  <Override PartName="/ppt/slideLayouts/slideLayout135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Masters/slideMaster19.xml" ContentType="application/vnd.openxmlformats-officedocument.presentationml.slideMaster+xml"/>
  <Override PartName="/ppt/slideLayouts/slideLayout35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321.xml" ContentType="application/vnd.openxmlformats-officedocument.presentationml.slideLayout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18.xml" ContentType="application/vnd.openxmlformats-officedocument.theme+xml"/>
  <Override PartName="/ppt/tableStyles.xml" ContentType="application/vnd.openxmlformats-officedocument.presentationml.tableStyles+xml"/>
  <Override PartName="/ppt/slideLayouts/slideLayout236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Masters/slideMaster22.xml" ContentType="application/vnd.openxmlformats-officedocument.presentationml.slideMaster+xml"/>
  <Override PartName="/ppt/slideLayouts/slideLayout359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214.xml" ContentType="application/vnd.openxmlformats-officedocument.presentationml.slideLayout+xml"/>
  <Override PartName="/ppt/theme/theme21.xml" ContentType="application/vnd.openxmlformats-officedocument.theme+xml"/>
  <Override PartName="/ppt/slideLayouts/slideLayout261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337.xml" ContentType="application/vnd.openxmlformats-officedocument.presentationml.slideLayout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340.xml" ContentType="application/vnd.openxmlformats-officedocument.presentationml.slideLayout+xml"/>
  <Override PartName="/ppt/presentation.xml" ContentType="application/vnd.openxmlformats-officedocument.presentationml.presentation.main+xml"/>
  <Override PartName="/ppt/slideMasters/slideMaster16.xml" ContentType="application/vnd.openxmlformats-officedocument.presentationml.slideMaster+xml"/>
  <Override PartName="/ppt/slideLayouts/slideLayout32.xml" ContentType="application/vnd.openxmlformats-officedocument.presentationml.slideLayout+xml"/>
  <Override PartName="/ppt/slideLayouts/slideLayout132.xml" ContentType="application/vnd.openxmlformats-officedocument.presentationml.slideLayout+xml"/>
  <Override PartName="/docProps/app.xml" ContentType="application/vnd.openxmlformats-officedocument.extended-properties+xml"/>
  <Override PartName="/ppt/slideLayouts/slideLayout110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15.xml" ContentType="application/vnd.openxmlformats-officedocument.theme+xml"/>
  <Override PartName="/ppt/slideLayouts/slideLayout233.xml" ContentType="application/vnd.openxmlformats-officedocument.presentationml.slideLayout+xml"/>
  <Override PartName="/ppt/slideLayouts/slideLayout280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32" r:id="rId4"/>
    <p:sldMasterId id="2147483648" r:id="rId5"/>
    <p:sldMasterId id="2147483715" r:id="rId6"/>
    <p:sldMasterId id="2147483721" r:id="rId7"/>
    <p:sldMasterId id="2147483734" r:id="rId8"/>
    <p:sldMasterId id="2147483735" r:id="rId9"/>
    <p:sldMasterId id="2147483736" r:id="rId10"/>
    <p:sldMasterId id="2147483737" r:id="rId11"/>
    <p:sldMasterId id="2147483738" r:id="rId12"/>
    <p:sldMasterId id="2147484150" r:id="rId13"/>
    <p:sldMasterId id="2147484151" r:id="rId14"/>
    <p:sldMasterId id="2147484152" r:id="rId15"/>
    <p:sldMasterId id="2147484153" r:id="rId16"/>
    <p:sldMasterId id="2147484301" r:id="rId17"/>
    <p:sldMasterId id="2147484302" r:id="rId18"/>
    <p:sldMasterId id="2147484303" r:id="rId19"/>
    <p:sldMasterId id="2147484304" r:id="rId20"/>
    <p:sldMasterId id="2147484306" r:id="rId21"/>
    <p:sldMasterId id="2147484308" r:id="rId22"/>
    <p:sldMasterId id="2147484737" r:id="rId23"/>
    <p:sldMasterId id="2147485190" r:id="rId24"/>
    <p:sldMasterId id="2147485191" r:id="rId25"/>
    <p:sldMasterId id="2147485192" r:id="rId26"/>
    <p:sldMasterId id="2147485193" r:id="rId27"/>
    <p:sldMasterId id="2147485194" r:id="rId28"/>
    <p:sldMasterId id="2147485757" r:id="rId29"/>
    <p:sldMasterId id="2147486050" r:id="rId30"/>
    <p:sldMasterId id="2147486051" r:id="rId31"/>
    <p:sldMasterId id="2147486052" r:id="rId32"/>
    <p:sldMasterId id="2147486053" r:id="rId33"/>
    <p:sldMasterId id="2147486054" r:id="rId34"/>
    <p:sldMasterId id="2147486055" r:id="rId35"/>
    <p:sldMasterId id="2147486056" r:id="rId36"/>
  </p:sldMasterIdLst>
  <p:notesMasterIdLst>
    <p:notesMasterId r:id="rId46"/>
  </p:notesMasterIdLst>
  <p:handoutMasterIdLst>
    <p:handoutMasterId r:id="rId47"/>
  </p:handoutMasterIdLst>
  <p:sldIdLst>
    <p:sldId id="260" r:id="rId37"/>
    <p:sldId id="261" r:id="rId38"/>
    <p:sldId id="376" r:id="rId39"/>
    <p:sldId id="777" r:id="rId40"/>
    <p:sldId id="774" r:id="rId41"/>
    <p:sldId id="760" r:id="rId42"/>
    <p:sldId id="775" r:id="rId43"/>
    <p:sldId id="710" r:id="rId44"/>
    <p:sldId id="776" r:id="rId45"/>
  </p:sldIdLst>
  <p:sldSz cx="9144000" cy="6858000" type="screen4x3"/>
  <p:notesSz cx="6811963" cy="9942513"/>
  <p:defaultTextStyle>
    <a:defPPr>
      <a:defRPr lang="fr-FR"/>
    </a:defPPr>
    <a:lvl1pPr algn="ctr" rtl="0" fontAlgn="base">
      <a:spcBef>
        <a:spcPct val="0"/>
      </a:spcBef>
      <a:spcAft>
        <a:spcPct val="0"/>
      </a:spcAft>
      <a:defRPr kern="1200">
        <a:solidFill>
          <a:srgbClr val="000000"/>
        </a:solidFill>
        <a:latin typeface="Arial" pitchFamily="34" charset="0"/>
        <a:ea typeface="ＭＳ Ｐゴシック" pitchFamily="34" charset="-128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kern="1200">
        <a:solidFill>
          <a:srgbClr val="000000"/>
        </a:solidFill>
        <a:latin typeface="Arial" pitchFamily="34" charset="0"/>
        <a:ea typeface="ＭＳ Ｐゴシック" pitchFamily="34" charset="-128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kern="1200">
        <a:solidFill>
          <a:srgbClr val="000000"/>
        </a:solidFill>
        <a:latin typeface="Arial" pitchFamily="34" charset="0"/>
        <a:ea typeface="ＭＳ Ｐゴシック" pitchFamily="34" charset="-128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kern="1200">
        <a:solidFill>
          <a:srgbClr val="000000"/>
        </a:solidFill>
        <a:latin typeface="Arial" pitchFamily="34" charset="0"/>
        <a:ea typeface="ＭＳ Ｐゴシック" pitchFamily="34" charset="-128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kern="1200">
        <a:solidFill>
          <a:srgbClr val="000000"/>
        </a:solidFill>
        <a:latin typeface="Arial" pitchFamily="34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rgbClr val="000000"/>
        </a:solidFill>
        <a:latin typeface="Arial" pitchFamily="34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rgbClr val="000000"/>
        </a:solidFill>
        <a:latin typeface="Arial" pitchFamily="34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rgbClr val="000000"/>
        </a:solidFill>
        <a:latin typeface="Arial" pitchFamily="34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rgbClr val="000000"/>
        </a:solidFill>
        <a:latin typeface="Arial" pitchFamily="34" charset="0"/>
        <a:ea typeface="ＭＳ Ｐゴシック" pitchFamily="34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  <p:clrMru>
    <a:srgbClr val="000000"/>
    <a:srgbClr val="E8CBCB"/>
    <a:srgbClr val="C00000"/>
    <a:srgbClr val="666666"/>
    <a:srgbClr val="E60028"/>
    <a:srgbClr val="6E6E87"/>
    <a:srgbClr val="69AACD"/>
    <a:srgbClr val="006600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658" autoAdjust="0"/>
    <p:restoredTop sz="94349" autoAdjust="0"/>
  </p:normalViewPr>
  <p:slideViewPr>
    <p:cSldViewPr>
      <p:cViewPr>
        <p:scale>
          <a:sx n="100" d="100"/>
          <a:sy n="100" d="100"/>
        </p:scale>
        <p:origin x="-288" y="-7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5" d="100"/>
          <a:sy n="75" d="100"/>
        </p:scale>
        <p:origin x="-2232" y="-114"/>
      </p:cViewPr>
      <p:guideLst>
        <p:guide orient="horz" pos="3131"/>
        <p:guide pos="2145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Master" Target="slideMasters/slideMaster23.xml"/><Relationship Id="rId39" Type="http://schemas.openxmlformats.org/officeDocument/2006/relationships/slide" Target="slides/slide3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34" Type="http://schemas.openxmlformats.org/officeDocument/2006/relationships/slideMaster" Target="slideMasters/slideMaster31.xml"/><Relationship Id="rId42" Type="http://schemas.openxmlformats.org/officeDocument/2006/relationships/slide" Target="slides/slide6.xml"/><Relationship Id="rId47" Type="http://schemas.openxmlformats.org/officeDocument/2006/relationships/handoutMaster" Target="handoutMasters/handoutMaster1.xml"/><Relationship Id="rId50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Master" Target="slideMasters/slideMaster22.xml"/><Relationship Id="rId33" Type="http://schemas.openxmlformats.org/officeDocument/2006/relationships/slideMaster" Target="slideMasters/slideMaster30.xml"/><Relationship Id="rId38" Type="http://schemas.openxmlformats.org/officeDocument/2006/relationships/slide" Target="slides/slide2.xml"/><Relationship Id="rId46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Master" Target="slideMasters/slideMaster26.xml"/><Relationship Id="rId41" Type="http://schemas.openxmlformats.org/officeDocument/2006/relationships/slide" Target="slides/slide5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slideMaster" Target="slideMasters/slideMaster29.xml"/><Relationship Id="rId37" Type="http://schemas.openxmlformats.org/officeDocument/2006/relationships/slide" Target="slides/slide1.xml"/><Relationship Id="rId40" Type="http://schemas.openxmlformats.org/officeDocument/2006/relationships/slide" Target="slides/slide4.xml"/><Relationship Id="rId45" Type="http://schemas.openxmlformats.org/officeDocument/2006/relationships/slide" Target="slides/slide9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Master" Target="slideMasters/slideMaster25.xml"/><Relationship Id="rId36" Type="http://schemas.openxmlformats.org/officeDocument/2006/relationships/slideMaster" Target="slideMasters/slideMaster33.xml"/><Relationship Id="rId49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Master" Target="slideMasters/slideMaster28.xml"/><Relationship Id="rId44" Type="http://schemas.openxmlformats.org/officeDocument/2006/relationships/slide" Target="slides/slide8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Master" Target="slideMasters/slideMaster24.xml"/><Relationship Id="rId30" Type="http://schemas.openxmlformats.org/officeDocument/2006/relationships/slideMaster" Target="slideMasters/slideMaster27.xml"/><Relationship Id="rId35" Type="http://schemas.openxmlformats.org/officeDocument/2006/relationships/slideMaster" Target="slideMasters/slideMaster32.xml"/><Relationship Id="rId43" Type="http://schemas.openxmlformats.org/officeDocument/2006/relationships/slide" Target="slides/slide7.xml"/><Relationship Id="rId48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51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46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52440" cy="497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04" tIns="47805" rIns="95604" bIns="47805" numCol="1" anchor="t" anchorCtr="0" compatLnSpc="1">
            <a:prstTxWarp prst="textNoShape">
              <a:avLst/>
            </a:prstTxWarp>
          </a:bodyPr>
          <a:lstStyle>
            <a:lvl1pPr algn="l" defTabSz="959376">
              <a:defRPr sz="1100" smtClean="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246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7918" y="1"/>
            <a:ext cx="2952439" cy="497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04" tIns="47805" rIns="95604" bIns="47805" numCol="1" anchor="t" anchorCtr="0" compatLnSpc="1">
            <a:prstTxWarp prst="textNoShape">
              <a:avLst/>
            </a:prstTxWarp>
          </a:bodyPr>
          <a:lstStyle>
            <a:lvl1pPr algn="r" defTabSz="959376">
              <a:defRPr sz="1100" smtClean="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246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45148"/>
            <a:ext cx="2952440" cy="4957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04" tIns="47805" rIns="95604" bIns="47805" numCol="1" anchor="b" anchorCtr="0" compatLnSpc="1">
            <a:prstTxWarp prst="textNoShape">
              <a:avLst/>
            </a:prstTxWarp>
          </a:bodyPr>
          <a:lstStyle>
            <a:lvl1pPr algn="l" defTabSz="959376">
              <a:defRPr sz="1100" smtClean="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246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7918" y="9445148"/>
            <a:ext cx="2952439" cy="4957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04" tIns="47805" rIns="95604" bIns="47805" numCol="1" anchor="b" anchorCtr="0" compatLnSpc="1">
            <a:prstTxWarp prst="textNoShape">
              <a:avLst/>
            </a:prstTxWarp>
          </a:bodyPr>
          <a:lstStyle>
            <a:lvl1pPr algn="r" defTabSz="959376">
              <a:defRPr sz="1100" smtClean="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fld id="{CB8D01B9-E1F3-48A5-A53E-A8F434697426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52440" cy="497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04" tIns="47805" rIns="95604" bIns="47805" numCol="1" anchor="t" anchorCtr="0" compatLnSpc="1">
            <a:prstTxWarp prst="textNoShape">
              <a:avLst/>
            </a:prstTxWarp>
          </a:bodyPr>
          <a:lstStyle>
            <a:lvl1pPr algn="l" defTabSz="959376">
              <a:defRPr sz="1100" smtClean="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7918" y="1"/>
            <a:ext cx="2952439" cy="497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04" tIns="47805" rIns="95604" bIns="47805" numCol="1" anchor="t" anchorCtr="0" compatLnSpc="1">
            <a:prstTxWarp prst="textNoShape">
              <a:avLst/>
            </a:prstTxWarp>
          </a:bodyPr>
          <a:lstStyle>
            <a:lvl1pPr algn="r" defTabSz="959376">
              <a:defRPr sz="1100" smtClean="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270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3925" y="747713"/>
            <a:ext cx="4970463" cy="3727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0715" y="4722574"/>
            <a:ext cx="5450534" cy="44714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04" tIns="47805" rIns="95604" bIns="4780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5148"/>
            <a:ext cx="2952440" cy="4957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04" tIns="47805" rIns="95604" bIns="47805" numCol="1" anchor="b" anchorCtr="0" compatLnSpc="1">
            <a:prstTxWarp prst="textNoShape">
              <a:avLst/>
            </a:prstTxWarp>
          </a:bodyPr>
          <a:lstStyle>
            <a:lvl1pPr algn="l" defTabSz="959376">
              <a:defRPr sz="1100" smtClean="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7918" y="9445148"/>
            <a:ext cx="2952439" cy="4957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04" tIns="47805" rIns="95604" bIns="47805" numCol="1" anchor="b" anchorCtr="0" compatLnSpc="1">
            <a:prstTxWarp prst="textNoShape">
              <a:avLst/>
            </a:prstTxWarp>
          </a:bodyPr>
          <a:lstStyle>
            <a:lvl1pPr algn="r" defTabSz="959376">
              <a:defRPr sz="1100" smtClean="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fld id="{FCF6AA01-5582-4FD6-A958-A62BFC6FF2E8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FB70C9B-91C4-4542-AB36-944F011B9C9C}" type="slidenum">
              <a:rPr lang="fr-FR">
                <a:latin typeface="Arial" pitchFamily="34" charset="0"/>
              </a:rPr>
              <a:pPr/>
              <a:t>1</a:t>
            </a:fld>
            <a:endParaRPr lang="fr-FR">
              <a:latin typeface="Arial" pitchFamily="34" charset="0"/>
            </a:endParaRPr>
          </a:p>
        </p:txBody>
      </p:sp>
      <p:sp>
        <p:nvSpPr>
          <p:cNvPr id="737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373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FR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70F763D-9FD4-4017-9666-17DD990A84A8}" type="slidenum">
              <a:rPr lang="fr-FR">
                <a:latin typeface="Arial" pitchFamily="34" charset="0"/>
              </a:rPr>
              <a:pPr/>
              <a:t>2</a:t>
            </a:fld>
            <a:endParaRPr lang="fr-FR">
              <a:latin typeface="Arial" pitchFamily="34" charset="0"/>
            </a:endParaRPr>
          </a:p>
        </p:txBody>
      </p:sp>
      <p:sp>
        <p:nvSpPr>
          <p:cNvPr id="747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47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FR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6A46153-04B0-4CEB-9A7D-C11844146EA3}" type="slidenum">
              <a:rPr lang="fr-FR">
                <a:latin typeface="Arial" pitchFamily="34" charset="0"/>
              </a:rPr>
              <a:pPr/>
              <a:t>3</a:t>
            </a:fld>
            <a:endParaRPr lang="fr-FR">
              <a:latin typeface="Arial" pitchFamily="34" charset="0"/>
            </a:endParaRPr>
          </a:p>
        </p:txBody>
      </p:sp>
      <p:sp>
        <p:nvSpPr>
          <p:cNvPr id="768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680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FR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6A46153-04B0-4CEB-9A7D-C11844146EA3}" type="slidenum">
              <a:rPr lang="fr-FR"/>
              <a:pPr/>
              <a:t>5</a:t>
            </a:fld>
            <a:endParaRPr lang="fr-FR"/>
          </a:p>
        </p:txBody>
      </p:sp>
      <p:sp>
        <p:nvSpPr>
          <p:cNvPr id="768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680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FR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22" name="Rectangle 7"/>
          <p:cNvSpPr txBox="1">
            <a:spLocks noGrp="1" noChangeArrowheads="1"/>
          </p:cNvSpPr>
          <p:nvPr/>
        </p:nvSpPr>
        <p:spPr bwMode="auto">
          <a:xfrm>
            <a:off x="3857918" y="9445148"/>
            <a:ext cx="2952439" cy="4957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604" tIns="47805" rIns="95604" bIns="47805" anchor="b"/>
          <a:lstStyle/>
          <a:p>
            <a:pPr algn="r" defTabSz="959376"/>
            <a:fld id="{6BAE755D-FD49-4430-A79E-59F4E1BA35CE}" type="slidenum">
              <a:rPr lang="fr-FR" sz="1100">
                <a:solidFill>
                  <a:schemeClr val="tx1"/>
                </a:solidFill>
              </a:rPr>
              <a:pPr algn="r" defTabSz="959376"/>
              <a:t>7</a:t>
            </a:fld>
            <a:endParaRPr lang="fr-FR" sz="1100" dirty="0">
              <a:solidFill>
                <a:schemeClr val="tx1"/>
              </a:solidFill>
            </a:endParaRPr>
          </a:p>
        </p:txBody>
      </p:sp>
      <p:sp>
        <p:nvSpPr>
          <p:cNvPr id="4915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152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FR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4178" name="Rectangle 7"/>
          <p:cNvSpPr txBox="1">
            <a:spLocks noGrp="1" noChangeArrowheads="1"/>
          </p:cNvSpPr>
          <p:nvPr/>
        </p:nvSpPr>
        <p:spPr bwMode="auto">
          <a:xfrm>
            <a:off x="3857918" y="9445148"/>
            <a:ext cx="2952439" cy="4957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604" tIns="47805" rIns="95604" bIns="47805" anchor="b"/>
          <a:lstStyle/>
          <a:p>
            <a:pPr algn="r" defTabSz="959376"/>
            <a:fld id="{055E7929-7538-4EB1-AE57-F84AFD5FDEC4}" type="slidenum">
              <a:rPr lang="fr-FR" sz="1100">
                <a:solidFill>
                  <a:schemeClr val="tx1"/>
                </a:solidFill>
              </a:rPr>
              <a:pPr algn="r" defTabSz="959376"/>
              <a:t>8</a:t>
            </a:fld>
            <a:endParaRPr lang="fr-FR" sz="1100" dirty="0">
              <a:solidFill>
                <a:schemeClr val="tx1"/>
              </a:solidFill>
            </a:endParaRPr>
          </a:p>
        </p:txBody>
      </p:sp>
      <p:sp>
        <p:nvSpPr>
          <p:cNvPr id="4341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3418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FR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7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SOCEE10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gray">
          <a:xfrm>
            <a:off x="3359150" y="6116638"/>
            <a:ext cx="2425700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Line 12"/>
          <p:cNvSpPr>
            <a:spLocks noChangeShapeType="1"/>
          </p:cNvSpPr>
          <p:nvPr/>
        </p:nvSpPr>
        <p:spPr bwMode="gray">
          <a:xfrm flipV="1">
            <a:off x="4572000" y="209550"/>
            <a:ext cx="0" cy="266700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ＭＳ Ｐゴシック" charset="0"/>
            </a:endParaRPr>
          </a:p>
        </p:txBody>
      </p:sp>
      <p:sp>
        <p:nvSpPr>
          <p:cNvPr id="95437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557213" y="2085975"/>
            <a:ext cx="8029575" cy="2681288"/>
          </a:xfrm>
        </p:spPr>
        <p:txBody>
          <a:bodyPr/>
          <a:lstStyle>
            <a:lvl1pPr algn="ctr">
              <a:defRPr sz="3400" b="0"/>
            </a:lvl1pPr>
          </a:lstStyle>
          <a:p>
            <a:pPr lvl="0"/>
            <a:r>
              <a:rPr lang="fr-FR" noProof="0" smtClean="0"/>
              <a:t>CLIQUEZ POUR MODIFIER LE STYLE DU TITRE</a:t>
            </a:r>
          </a:p>
        </p:txBody>
      </p:sp>
      <p:sp>
        <p:nvSpPr>
          <p:cNvPr id="95437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557213" y="1295400"/>
            <a:ext cx="8029575" cy="719138"/>
          </a:xfrm>
        </p:spPr>
        <p:txBody>
          <a:bodyPr/>
          <a:lstStyle>
            <a:lvl1pPr marL="0" indent="0" algn="ctr">
              <a:spcBef>
                <a:spcPct val="0"/>
              </a:spcBef>
              <a:buFont typeface="Wingdings" charset="0"/>
              <a:buNone/>
              <a:defRPr sz="1200"/>
            </a:lvl1pPr>
          </a:lstStyle>
          <a:p>
            <a:pPr lvl="0"/>
            <a:r>
              <a:rPr lang="fr-FR" noProof="0" smtClean="0"/>
              <a:t>CLIQUEZ POUR MODIFIER LE STYLE DES SOUS-TITRES DU MASQUE</a:t>
            </a:r>
          </a:p>
        </p:txBody>
      </p:sp>
      <p:sp>
        <p:nvSpPr>
          <p:cNvPr id="6" name="Espace réservé de la date 5"/>
          <p:cNvSpPr>
            <a:spLocks noGrp="1" noChangeArrowheads="1"/>
          </p:cNvSpPr>
          <p:nvPr>
            <p:ph type="dt" sz="half" idx="10"/>
          </p:nvPr>
        </p:nvSpPr>
        <p:spPr bwMode="gray">
          <a:xfrm>
            <a:off x="557213" y="4849813"/>
            <a:ext cx="8029575" cy="479425"/>
          </a:xfrm>
          <a:prstGeom prst="rect">
            <a:avLst/>
          </a:prstGeom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1100"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6BB9D563-53E8-40CF-BD1D-5ED112F208E5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80188" y="260350"/>
            <a:ext cx="2006600" cy="5545138"/>
          </a:xfrm>
        </p:spPr>
        <p:txBody>
          <a:bodyPr vert="eaVert"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57213" y="260350"/>
            <a:ext cx="5870575" cy="5545138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57213" y="908050"/>
            <a:ext cx="3938587" cy="48974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908050"/>
            <a:ext cx="3938588" cy="48974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80188" y="260350"/>
            <a:ext cx="2006600" cy="5689600"/>
          </a:xfrm>
        </p:spPr>
        <p:txBody>
          <a:bodyPr vert="eaVert"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57213" y="260350"/>
            <a:ext cx="5870575" cy="5689600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FAA7F4C9-98DE-435D-A7FE-DC9078A06065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80188" y="260350"/>
            <a:ext cx="2006600" cy="5545138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57213" y="260350"/>
            <a:ext cx="5870575" cy="5545138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  <p:sp>
        <p:nvSpPr>
          <p:cNvPr id="4" name="Rectangle 2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2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C1F2E798-9259-494B-8D8E-F07826F7B72E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23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2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2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27ED6915-F227-489E-ADD6-2C2969006A13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23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Rectangle 2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2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AEA80EF1-FFE6-4878-8709-22BC44B2F3D9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23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57213" y="1916113"/>
            <a:ext cx="3938587" cy="40338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916113"/>
            <a:ext cx="3938588" cy="40338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2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F84828FB-E504-445D-A099-679A1F5F6D8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23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Rectangle 2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8" name="Rectangle 2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02110838-0E0E-4D72-9DAD-3DFBA88B8ED2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9" name="Rectangle 23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Rectangle 2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4" name="Rectangle 2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206C80B4-0C35-4360-B4A8-1D5F469014FD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re. Texte et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57213" y="260350"/>
            <a:ext cx="7831137" cy="500063"/>
          </a:xfrm>
        </p:spPr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557213" y="1052513"/>
            <a:ext cx="3938587" cy="4897437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052513"/>
            <a:ext cx="3938588" cy="4897437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9722FA1C-8F8B-49DC-A1DC-8C6A5CB2D4EF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3" name="Rectangle 2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6E6A4267-3D50-42EC-9264-9FFA066518CB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4" name="Rectangle 23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2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13C15A9D-72A3-4571-906C-3121F5137C1D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23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2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EC693472-CBB6-4E84-817D-F935C267D739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23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2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2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DC5B4DDB-FA99-4800-B427-7B50B496B05D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23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80188" y="1125538"/>
            <a:ext cx="2006600" cy="4824412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57213" y="1125538"/>
            <a:ext cx="5870575" cy="4824412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2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2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3FED642B-DE4B-4B7F-AFBA-67C34BBE0550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23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D0031973-B3BF-4417-854A-2E5B9FE85B86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C86CB00D-8823-425C-89D9-D26D8AFF3E65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11C6F47C-FCFE-402A-89C2-A139BD98BE1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57213" y="1052513"/>
            <a:ext cx="3938587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052513"/>
            <a:ext cx="3938588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425F478C-F390-4920-BC0E-41A371EE4885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64EBAE26-E408-4E29-834C-F4F4B29C6FD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9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57213" y="260350"/>
            <a:ext cx="7831137" cy="500063"/>
          </a:xfrm>
        </p:spPr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557213" y="1052513"/>
            <a:ext cx="8029575" cy="4897437"/>
          </a:xfrm>
        </p:spPr>
        <p:txBody>
          <a:bodyPr/>
          <a:lstStyle/>
          <a:p>
            <a:pPr lvl="0"/>
            <a:endParaRPr lang="fr-FR" noProof="0" smtClean="0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05CB8761-6288-4B5A-9890-C2110B649541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B36595DA-75CA-4560-A1F8-0B698EB6A542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843C0271-7A2E-4599-BAAD-0A4BB247C31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0FE71E5B-6D7E-4F88-98E6-AFE44C860CCA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BF43409F-E091-49CB-9A10-1806FB3CF7D2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92ACA1E8-44EB-4166-9D36-CB35515AB1C5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80188" y="260350"/>
            <a:ext cx="2006600" cy="5689600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57213" y="260350"/>
            <a:ext cx="5870575" cy="5689600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2235D4A8-3B22-467A-9EE1-898808A1A63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81EA0F53-8495-4E04-8359-14D8367B9CF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D00583F5-C970-4AA3-AF9A-53DA615226F6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3E56F05C-C265-4F51-B110-F2EF0471B621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57213" y="1052513"/>
            <a:ext cx="3938587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052513"/>
            <a:ext cx="3938588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E30C9A83-2437-48CE-9A14-641FA0DE84E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557213" y="260350"/>
            <a:ext cx="8029575" cy="5689600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AF313390-C487-44F2-902D-E1C6F8BE6D1D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E0C0F809-E631-4053-AF38-749E0209D77B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9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B39B2233-CE2C-40CF-8D05-DAF61A192F6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2BCFA856-60AB-40D0-AC68-CB9F0FA2A11F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75DF932B-BC11-451C-9E90-BB9F170B0C51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B08281C1-3C7D-41AE-9F1D-A5F18AF570E0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D79F029A-CE43-4797-8EBB-E30C926EBA92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80188" y="260350"/>
            <a:ext cx="2006600" cy="5689600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57213" y="260350"/>
            <a:ext cx="5870575" cy="5689600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BE660D96-3905-4652-91AB-667984C85659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A88F36D7-B47E-44C5-9452-1506675AD231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35FA591F-C8F9-45B6-A26E-524A4B033F45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EB1D8A11-9F83-4CB2-AB04-78B4E55F098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  <p:sp>
        <p:nvSpPr>
          <p:cNvPr id="4" name="Rectangle 2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2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F8118067-A790-46DE-A308-DC17ED2D1A42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23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57213" y="1052513"/>
            <a:ext cx="3938587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052513"/>
            <a:ext cx="3938588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8BBDEFB8-CFAF-46CE-BC58-950BD6121ADB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E51FFC0F-2FEA-4359-A8BA-345CB74779D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9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949140C8-B6EB-40DE-8EED-B82A43ECB08A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52C1F0E2-AFBE-4105-8F06-3C8B09B0D58A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425C2E0D-1D9D-4DD2-9A09-1D8E805B916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C13AF920-56AA-4EDE-BDE9-ED994011A72B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B2662046-4201-4C07-87E4-9268EC3A0C4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80188" y="260350"/>
            <a:ext cx="2006600" cy="5689600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57213" y="260350"/>
            <a:ext cx="5870575" cy="5689600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BEBB3DDC-52D3-45AB-9D6D-F18C7408725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</p:spTree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2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2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DD8D83EE-8909-4ADF-95A6-408D08D35D45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23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57213" y="908050"/>
            <a:ext cx="3938587" cy="48974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908050"/>
            <a:ext cx="3938588" cy="48974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</p:spTree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80188" y="260350"/>
            <a:ext cx="2006600" cy="5545138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57213" y="260350"/>
            <a:ext cx="5870575" cy="5545138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Rectangle 2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2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F07ECA51-10BC-4740-A928-B36BE0A9EFF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23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57213" y="908050"/>
            <a:ext cx="3938587" cy="48974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908050"/>
            <a:ext cx="3938588" cy="48974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</p:spTree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80188" y="260350"/>
            <a:ext cx="2006600" cy="5545138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57213" y="260350"/>
            <a:ext cx="5870575" cy="5545138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57213" y="1916113"/>
            <a:ext cx="3938587" cy="40338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916113"/>
            <a:ext cx="3938588" cy="40338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2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05EF0BF2-F25D-4798-9EB1-D00768BE07D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23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SOCEE10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gray">
          <a:xfrm>
            <a:off x="3359150" y="6116638"/>
            <a:ext cx="2425700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Line 6"/>
          <p:cNvSpPr>
            <a:spLocks noChangeShapeType="1"/>
          </p:cNvSpPr>
          <p:nvPr/>
        </p:nvSpPr>
        <p:spPr bwMode="gray">
          <a:xfrm flipV="1">
            <a:off x="4572000" y="209550"/>
            <a:ext cx="0" cy="266700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MS PGothic" pitchFamily="34" charset="-128"/>
            </a:endParaRPr>
          </a:p>
        </p:txBody>
      </p:sp>
      <p:sp>
        <p:nvSpPr>
          <p:cNvPr id="2816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57213" y="2085975"/>
            <a:ext cx="8029575" cy="2681288"/>
          </a:xfrm>
        </p:spPr>
        <p:txBody>
          <a:bodyPr/>
          <a:lstStyle>
            <a:lvl1pPr algn="ctr">
              <a:defRPr sz="3400" b="0"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2816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57213" y="1295400"/>
            <a:ext cx="8029575" cy="719138"/>
          </a:xfrm>
        </p:spPr>
        <p:txBody>
          <a:bodyPr/>
          <a:lstStyle>
            <a:lvl1pPr marL="0" indent="0" algn="ctr">
              <a:spcBef>
                <a:spcPct val="0"/>
              </a:spcBef>
              <a:buFont typeface="Wingdings" pitchFamily="2" charset="2"/>
              <a:buNone/>
              <a:defRPr sz="1200"/>
            </a:lvl1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557213" y="4849813"/>
            <a:ext cx="8029575" cy="479425"/>
          </a:xfrm>
        </p:spPr>
        <p:txBody>
          <a:bodyPr rIns="0" anchor="b"/>
          <a:lstStyle>
            <a:lvl1pPr algn="ctr">
              <a:defRPr sz="1100"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</p:spTree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1C7C0FFB-C526-4B5F-AFD4-5B82D30EAEBF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EE512B86-A92E-4258-B091-04800843B708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57213" y="1052513"/>
            <a:ext cx="3938587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052513"/>
            <a:ext cx="3938588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CE3E0C0D-2808-4519-89FE-C644BD897A6B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B822AF62-E868-4A2E-97EC-81EA5182E4DA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9" name="Rectangle 7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EBCC441F-5F04-43D0-84AE-A502A0E80E1F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5EC817D6-CAF6-45C0-9FBE-836A7B849E55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C5784AE5-D0C4-441D-AFCC-DA78CB3D4E42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92769584-20E1-41F2-977F-F394BBD48823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0C43DA4A-F345-40D7-9D7B-B29291EBEC00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Rectangle 2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8" name="Rectangle 2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355A8303-2133-45F8-B31E-F9A00D7C0F80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9" name="Rectangle 23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80188" y="260350"/>
            <a:ext cx="2006600" cy="5689600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57213" y="260350"/>
            <a:ext cx="5870575" cy="5689600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C82F14C9-E515-42D8-A2EB-6E11484520F6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SOCEE10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gray">
          <a:xfrm>
            <a:off x="3359150" y="6116638"/>
            <a:ext cx="2425700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Line 6"/>
          <p:cNvSpPr>
            <a:spLocks noChangeShapeType="1"/>
          </p:cNvSpPr>
          <p:nvPr/>
        </p:nvSpPr>
        <p:spPr bwMode="gray">
          <a:xfrm flipV="1">
            <a:off x="4572000" y="209550"/>
            <a:ext cx="0" cy="266700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MS PGothic" pitchFamily="34" charset="-128"/>
            </a:endParaRPr>
          </a:p>
        </p:txBody>
      </p:sp>
      <p:sp>
        <p:nvSpPr>
          <p:cNvPr id="30003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57213" y="2085975"/>
            <a:ext cx="8029575" cy="2681288"/>
          </a:xfrm>
        </p:spPr>
        <p:txBody>
          <a:bodyPr/>
          <a:lstStyle>
            <a:lvl1pPr algn="ctr">
              <a:defRPr sz="3400" b="0"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30003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57213" y="1295400"/>
            <a:ext cx="8029575" cy="719138"/>
          </a:xfrm>
        </p:spPr>
        <p:txBody>
          <a:bodyPr/>
          <a:lstStyle>
            <a:lvl1pPr marL="0" indent="0" algn="ctr">
              <a:spcBef>
                <a:spcPct val="0"/>
              </a:spcBef>
              <a:buFont typeface="Wingdings" pitchFamily="2" charset="2"/>
              <a:buNone/>
              <a:defRPr sz="1200"/>
            </a:lvl1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557213" y="4849813"/>
            <a:ext cx="8029575" cy="479425"/>
          </a:xfrm>
        </p:spPr>
        <p:txBody>
          <a:bodyPr rIns="0" anchor="b"/>
          <a:lstStyle>
            <a:lvl1pPr algn="ctr">
              <a:defRPr sz="1100"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</p:spTree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B03B52DE-141C-490C-A474-DADDEF84465B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2F5A613D-2043-424D-84EF-84F560D7F599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57213" y="1052513"/>
            <a:ext cx="3938587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052513"/>
            <a:ext cx="3938588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76757AC8-07CB-4070-9D75-A67FB66FACD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A2A6D28D-7513-4112-9B16-07F406A78543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9" name="Rectangle 7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7869899B-5253-4531-961D-C0FF2F04D90A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8B1F4CAE-84BA-4681-87CE-AB58871070EF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DC227B6C-B71B-4194-87F5-4DAD20535D2D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3B7A6E33-E17E-4F23-B622-6C385E3E4D33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FE32BE0F-1F12-4F21-A4E6-F8932B8FB31A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Rectangle 2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4" name="Rectangle 2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2ABC39CE-5837-42B8-AABB-6DD2DCAE37B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686EACF0-7E78-4452-AD82-7BB39463937A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80188" y="260350"/>
            <a:ext cx="2006600" cy="5689600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57213" y="260350"/>
            <a:ext cx="5870575" cy="5689600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BD9913CE-BB22-4ED1-88FE-83FD89EDCD5B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ABE18CDD-741F-4363-86B9-7D8909AAD663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756F56F8-4477-44FC-9697-B27F41226343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924521C4-399A-44F4-A98B-2B685DC11E2F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57213" y="1052513"/>
            <a:ext cx="3938587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052513"/>
            <a:ext cx="3938588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BE577B54-181C-4A80-A7F6-DE6818FCE30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E0B6B147-B6DC-4C8C-AE03-C575F792544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9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09D49207-557F-41FE-B1C3-1E3F99401C6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FAD84BDE-F9CC-4363-B595-04E2C3FCB53F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07F6FDAD-2BAE-4882-A228-823E2FD77365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3" name="Rectangle 2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98923DF6-ACC3-4682-846E-CF13FC74A9FD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4" name="Rectangle 23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8C0FCC20-EF02-4875-A3D3-C0C3CC2AE921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622A7644-76B7-4193-99E7-BCD3749773C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80188" y="260350"/>
            <a:ext cx="2006600" cy="5689600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57213" y="260350"/>
            <a:ext cx="5870575" cy="5689600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20B2115C-1F32-4769-B0DF-C1E1DDF1568D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</p:spTree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57213" y="908050"/>
            <a:ext cx="3938587" cy="48974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908050"/>
            <a:ext cx="3938588" cy="48974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</p:spTree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2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6B815318-1E2E-42D7-9283-B59B29368F23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23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80188" y="260350"/>
            <a:ext cx="2006600" cy="5545138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57213" y="260350"/>
            <a:ext cx="5870575" cy="5545138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</p:spTree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57213" y="908050"/>
            <a:ext cx="3938587" cy="48974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908050"/>
            <a:ext cx="3938588" cy="48974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2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B9973967-032E-4064-AF72-04C030C5792E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23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80188" y="260350"/>
            <a:ext cx="2006600" cy="5545138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57213" y="260350"/>
            <a:ext cx="5870575" cy="5545138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</p:spTree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57213" y="908050"/>
            <a:ext cx="3938587" cy="48974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908050"/>
            <a:ext cx="3938588" cy="48974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2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2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91290FF6-29A8-462D-A97D-B9A9DFA0237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23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</p:spTree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80188" y="260350"/>
            <a:ext cx="2006600" cy="5545138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57213" y="260350"/>
            <a:ext cx="5870575" cy="5545138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EA6A9857-A2A7-4B5B-B50E-F138E08BD90A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828D8CEF-26BE-4F1C-857D-B7360922B8E3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FA055E81-C240-4714-824C-A3DCFF1939C9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57213" y="1052513"/>
            <a:ext cx="3938587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052513"/>
            <a:ext cx="3938588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A6514E06-6631-4EE5-8932-9A0BF12A828E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80188" y="1125538"/>
            <a:ext cx="2006600" cy="4824412"/>
          </a:xfrm>
        </p:spPr>
        <p:txBody>
          <a:bodyPr vert="eaVert"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57213" y="1125538"/>
            <a:ext cx="5870575" cy="4824412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2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2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AD6B8944-84B2-4BED-A999-6012E358CA7E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23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F65FD098-E768-46F7-B72B-234134F6F843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9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1D1EA96C-EF23-45C6-B92A-7BA19754313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2B8D4A2D-BBA8-47B6-AACB-6BE0D54040BE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3E4720B4-674D-4EBD-BDA3-1A56A1A294D3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097CEF7C-7D9D-42C9-A6A7-C4894BEE844E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34A99DDE-189F-467E-82FD-89C1DBCB99FB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80188" y="260350"/>
            <a:ext cx="2006600" cy="5689600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57213" y="260350"/>
            <a:ext cx="5870575" cy="5689600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EFFDCB7C-0A8F-4601-9D7A-6A57A84D60E0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 dirty="0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63F9C6BB-F062-4B63-8CD8-6A0584F125EF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 dirty="0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B994DC9F-749D-4B0C-8EAA-3CB51099251B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 dirty="0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551C89F1-E1D6-4119-AC8B-4CEB3DA3A5F6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  <p:sp>
        <p:nvSpPr>
          <p:cNvPr id="4" name="Rectangle 1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2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D1AF4380-AE31-44B3-9665-068FB61D8091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21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57213" y="1052513"/>
            <a:ext cx="3938587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052513"/>
            <a:ext cx="3938588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 dirty="0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EF581CBC-3A63-412B-80CE-FDE526380DF1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 dirty="0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F00E42A0-3E59-412A-A0C6-514B3C3A8581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9" name="Rectangle 8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 dirty="0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505ED407-4216-462C-A700-40D50DEE3626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 dirty="0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CF120029-25ED-495F-BF98-64289D496551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 dirty="0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494023EF-8CF7-4D40-8C30-54C15F7CAD8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 dirty="0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D29E6F73-120B-4DFB-AB8A-A7838738752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 dirty="0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7E215F28-CC17-4EC5-B386-95FE9D46698D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80188" y="260350"/>
            <a:ext cx="2006600" cy="5689600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57213" y="260350"/>
            <a:ext cx="5870575" cy="5689600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 dirty="0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ED09499D-0608-4FC9-9E17-0075DE453E4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1849A986-4523-42D2-8C27-72975D73C699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3051F2FF-8E8D-4E28-B95E-BC7284835D2E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1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2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A023AEC1-9EDF-442E-9B55-5F90C8AB9069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21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0FC1734C-C26E-48EA-BF0A-AD7468E6C37A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57213" y="1052513"/>
            <a:ext cx="3938587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052513"/>
            <a:ext cx="3938588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09D6CAB0-31AE-4F85-AE55-FD8A92CF24D9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1190029B-4463-4097-A35E-49E262D3D9BB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9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6AF2E850-C23C-473D-A157-FA37F26FB4DD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C91B7658-1244-4B76-80A8-21ED296CBFD9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E29779BE-D9D6-4632-A474-DDEF61C21B35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78D9404E-8CF4-45BC-9941-C752BE9A8B6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74F4BDCD-FB31-41B2-8700-FB41C6691FF0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80188" y="260350"/>
            <a:ext cx="2006600" cy="5689600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57213" y="260350"/>
            <a:ext cx="5870575" cy="5689600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AF9A34EA-2D8A-4139-BC06-638F9C1A445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CDB4636B-68BF-4F41-A736-84D7316FCA5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Rectangle 1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2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840FB0C0-6E77-4778-8474-4F4FA8EA6D7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21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0489F4C1-C297-4B4C-9952-DC776ECB2C19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982ED590-CEBE-42A1-82FA-2A597E48CDA3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57213" y="1052513"/>
            <a:ext cx="3938587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052513"/>
            <a:ext cx="3938588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4175F0F7-6215-4B10-AA7B-6BD8C16E5DD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0D662EE2-F3F5-4866-8A7E-4E221AFE48A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9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46883135-6DDF-4B5F-A056-E12E39FC7BAA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4A68B694-B6A4-40E4-9EF0-B43283B69FC8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E0E6A18B-70BC-42BA-93E6-844A890BCBE2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85F85AFB-8010-47D4-AD20-8270F09BFF6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7BE1A71F-D458-467C-BD53-C0F8CA7825FF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80188" y="260350"/>
            <a:ext cx="2006600" cy="5689600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57213" y="260350"/>
            <a:ext cx="5870575" cy="5689600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55911005-8BAC-416B-96C7-7CA9CEE6879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57213" y="2544763"/>
            <a:ext cx="3938587" cy="3405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2544763"/>
            <a:ext cx="3938588" cy="3405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1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2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769B51AD-BCFE-4F9D-BD7B-0A038F5EC506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21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502F1979-DF17-4FCF-9347-F9FB15BA42FE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9765149B-E898-4924-B657-D49E6C530662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FB332166-326F-42A4-8098-CE9E69012379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57213" y="1052513"/>
            <a:ext cx="3938587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052513"/>
            <a:ext cx="3938588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5928AE15-4743-469F-AFFD-E2E969045C4D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8707AC7F-ED80-495A-9431-5612218EA90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25137A31-80FC-4E28-8CE4-844C392845B0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F52A47A3-E39F-4984-ADE5-0C9BF7BF02F1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E7BFCBC3-8676-41B1-B72D-236785C77DE8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EED7BBDF-8009-4B68-96A0-D94B57DDFD69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62C5D9CC-83A5-42E6-B38D-28D0B6FC1C78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CAB6FA8C-50FD-4733-8503-536E1B4F7B3B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Rectangle 1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8" name="Rectangle 2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A7876EEE-84B8-4FFA-BF01-C3FDE81FE499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9" name="Rectangle 21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80188" y="260350"/>
            <a:ext cx="2006600" cy="5689600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57213" y="260350"/>
            <a:ext cx="5870575" cy="5689600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148F5BE2-4E6F-46D8-86B5-0DF1AC96AC09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</p:spTree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57213" y="908050"/>
            <a:ext cx="3938587" cy="48974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908050"/>
            <a:ext cx="3938588" cy="48974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</p:spTree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Rectangle 1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4" name="Rectangle 2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328C2D08-139E-4FEE-ABBF-30E695A3C0C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80188" y="260350"/>
            <a:ext cx="2006600" cy="5545138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57213" y="260350"/>
            <a:ext cx="5870575" cy="5545138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</p:spTree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57213" y="908050"/>
            <a:ext cx="3938587" cy="48974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908050"/>
            <a:ext cx="3938588" cy="48974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</p:spTree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3" name="Rectangle 2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617BA813-2CC2-4856-824F-1C22599C570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4" name="Rectangle 21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80188" y="260350"/>
            <a:ext cx="2006600" cy="5545138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57213" y="260350"/>
            <a:ext cx="5870575" cy="5545138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64314A7A-3C12-4333-845C-EE4B9D4CBD8A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46E4E858-7800-452C-BFDC-720C833A13C1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BBB043ED-E60E-4CD1-B638-1DB3AB9AFB6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57213" y="1052513"/>
            <a:ext cx="3938587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052513"/>
            <a:ext cx="3938588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1025F86D-1B55-4AD3-B2BA-65A4B1F0FAB8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773C0E38-89D0-4068-A936-B909BC2D936D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7C2A9F0A-D624-4B47-A715-453646EA16D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4781E037-491C-4017-8136-84FA0FB64F6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1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2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2FA220A0-0418-4F07-9428-2309ABD31809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21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18E1863B-07F8-47A6-B987-A926DD574B23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950E5A5D-1163-4779-87C4-83DC8C491849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6902A83F-593D-4584-AE37-4DE49CEB0BB8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80188" y="260350"/>
            <a:ext cx="2006600" cy="5689600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57213" y="260350"/>
            <a:ext cx="5870575" cy="5689600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C229D113-2F04-4405-87B6-58A025484CD6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4BD8B3C2-9C43-4018-8A57-123F4F4A9D06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8A215F43-13FF-4308-9C10-55F88E240BB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B6051C72-A154-491E-894B-57C39F669CC8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57213" y="1052513"/>
            <a:ext cx="3938587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052513"/>
            <a:ext cx="3938588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3E908204-79F3-4447-987F-EB618C4C8D55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 dirty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A25A16A0-E85D-4326-87C4-C146286EFA3B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273A6149-FE97-454A-A49D-556FBC870299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1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2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6273A29F-3FF4-4A4A-95BE-2AB9E8AA2F7B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21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838004A7-01E0-48CF-9B91-606FE132A028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4D40F54C-D9D3-4711-A3CA-6DB76603F3E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8433795F-311A-4E48-8831-9D987D1685C2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16407C9C-C535-46B7-985B-5E014842C439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80188" y="260350"/>
            <a:ext cx="2006600" cy="5689600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57213" y="260350"/>
            <a:ext cx="5870575" cy="5689600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616F972C-EED5-49E4-8A4B-E77A9599938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1D488327-B862-4773-8390-3EDE08221D88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A9F5B14B-76EF-4AA1-A61A-145A51409B5B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5740627A-6797-4F9D-A6F7-B8920F90904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57213" y="1052513"/>
            <a:ext cx="3938587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052513"/>
            <a:ext cx="3938588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A2B9D614-21C6-408B-A593-C3FE6D5BB3BA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8D52D122-7FE1-47DC-94AA-1558E4F4A55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1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2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E6380460-9A83-4E37-8595-D01F732A2A4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21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84BDE961-9C17-4A59-AE65-08AF5B456A52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F3F0BF9F-9A3C-4459-ABE6-419806BF57CB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71E863D3-D78F-4E19-B34F-8C33C9F4EE40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9C69A83B-F8C1-4A61-9E38-C08DD3E60582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2A21B726-586D-453A-8A5B-226CDCAA9FA1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80188" y="260350"/>
            <a:ext cx="2006600" cy="5689600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57213" y="260350"/>
            <a:ext cx="5870575" cy="5689600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938B5B87-D061-4615-A2AE-4908A205690E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1E5B3CEB-D6B7-4E66-A9B8-1272FDCEA8B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4AEADE35-5B50-444D-9D80-C3D53959A383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9A379228-5C7B-4714-8528-05047E8B2D4D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57213" y="1052513"/>
            <a:ext cx="3938587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052513"/>
            <a:ext cx="3938588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49BD14CD-38EF-4B46-82B3-6850B3CD0D0A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80188" y="1125538"/>
            <a:ext cx="2006600" cy="4824412"/>
          </a:xfrm>
        </p:spPr>
        <p:txBody>
          <a:bodyPr vert="eaVert"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57213" y="1125538"/>
            <a:ext cx="5870575" cy="4824412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1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2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7A4B2004-E4E4-4843-8882-5FAE7A77DCF8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21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5ECF9CA5-61D2-4353-9F3C-24C432953510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B9A27576-B6C2-425D-AE92-3B4CA5616BF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7640AEFE-01DF-4E4D-9870-84F0ACB48F8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090373E0-7419-4A36-8212-114042782C29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8468A208-8687-425F-87D5-DB8987202C0E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843595BA-B138-4652-A02D-8B19FFD152B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80188" y="260350"/>
            <a:ext cx="2006600" cy="5689600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57213" y="260350"/>
            <a:ext cx="5870575" cy="5689600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fr-FR"/>
              <a:t>P.</a:t>
            </a:r>
            <a:fld id="{6E1C45B6-C58E-48A7-9CE0-A75B3EF07F55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  <p:sp>
        <p:nvSpPr>
          <p:cNvPr id="4" name="Rectangle 2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29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0CEC14C7-8482-4A1F-8AB9-DB610038F725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30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2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29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F2523C69-378B-40E6-80CD-8B8E3109DBCD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30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Rectangle 2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29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5831AB4E-F62B-473D-B606-32E030E54030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30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57213" y="1052513"/>
            <a:ext cx="3938587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052513"/>
            <a:ext cx="3938588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C7D6AEBA-A0DB-4C02-A343-B92E87CDEC23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57213" y="2293938"/>
            <a:ext cx="3938587" cy="22701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2293938"/>
            <a:ext cx="3938588" cy="22701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2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29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3FCFAAEB-C47D-4FB4-823A-87C691CFE841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30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Rectangle 2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8" name="Rectangle 29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6614F862-4B7B-4078-B7EE-88DDC99ED2EE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9" name="Rectangle 30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Rectangle 2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4" name="Rectangle 29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D7865D19-49ED-4BCB-90DF-E270FD163FC9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5" name="Rectangle 30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3" name="Rectangle 29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5E536E84-ACC0-4553-A403-D7A33B5DD0C3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4" name="Rectangle 30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2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29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62D950D9-DA60-4244-A031-4C819F62790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30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2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29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85AD747C-5108-49A9-8220-E179EB0830B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30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2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29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1A7E4013-199D-46BE-B669-1D71073E191F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30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80188" y="1301750"/>
            <a:ext cx="2006600" cy="3262313"/>
          </a:xfrm>
        </p:spPr>
        <p:txBody>
          <a:bodyPr vert="eaVert"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57213" y="1301750"/>
            <a:ext cx="5870575" cy="3262313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2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29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4D4DB31E-A17A-46A8-8662-60970A36A4B2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30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C6E85F3E-8978-44C2-96DF-CB109242B32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8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57213" y="1052513"/>
            <a:ext cx="3938587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052513"/>
            <a:ext cx="3938588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80188" y="260350"/>
            <a:ext cx="2006600" cy="5689600"/>
          </a:xfrm>
        </p:spPr>
        <p:txBody>
          <a:bodyPr vert="eaVert"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57213" y="260350"/>
            <a:ext cx="5870575" cy="5689600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8678F905-0BB6-4758-946B-0C0FFFD3912B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4A12AE20-5FBB-4A09-BCDB-F9B4E2D6C615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2A220255-A077-4968-BFFA-393B03BBF0A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FE4C86F6-DBDD-4AE6-858E-9D12A8F78F32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57213" y="908050"/>
            <a:ext cx="3938587" cy="48974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908050"/>
            <a:ext cx="3938588" cy="48974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959AD67C-734D-4733-A892-9B5E61E60E00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40AA05D4-DA7F-4BF0-AF00-25F8304348B5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9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DF9DE8FD-C32A-4BD9-BDFE-D30CF975029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16622A5E-7037-416D-BBB6-B4926859771A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E7B0DC50-E3A0-48FC-9421-073CCED3826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707C38F7-BDF8-4E5B-8A61-56C6DCF72829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434B2CA5-AA8D-43E4-94E6-F15EDBE3F306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80188" y="260350"/>
            <a:ext cx="2006600" cy="5545138"/>
          </a:xfrm>
        </p:spPr>
        <p:txBody>
          <a:bodyPr vert="eaVert"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57213" y="260350"/>
            <a:ext cx="5870575" cy="5545138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E49AEDE6-19C3-40B8-B6F1-E8D95F4CB01D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72417D78-FBF8-4579-A7A3-97142D27A2EE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3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  <p:sp>
        <p:nvSpPr>
          <p:cNvPr id="4" name="Rectangle 2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2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675572B9-67F6-4B0E-90E5-5D17360DC4B2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23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2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2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4080A6DB-AC65-4C49-99BE-752DD04FF1D9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23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Rectangle 2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2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02640320-BACF-4C5A-B7C3-5999B390341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23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57213" y="1916113"/>
            <a:ext cx="3938587" cy="40338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916113"/>
            <a:ext cx="3938588" cy="40338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2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681657B5-8D90-422C-99E4-FB625F598DF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23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Rectangle 2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8" name="Rectangle 2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AA69159F-012B-491E-B5F0-E9983801F4B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9" name="Rectangle 23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Rectangle 2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4" name="Rectangle 2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27086521-4BF0-4565-A2AE-AFD9C2565FF3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3" name="Rectangle 2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E95EBA43-6010-485D-877C-E1B912B02B11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4" name="Rectangle 23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2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A11DCA47-BB41-4625-AE38-B339FBC0216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23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6" name="Rectangle 2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64B3C305-B699-4A05-A3BD-270E199C38F2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Rectangle 23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2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2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22274D73-1300-47D7-BE4E-496C01A0281A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23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657C2EA4-7207-42F8-A17F-6264F0795DC9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80188" y="1125538"/>
            <a:ext cx="2006600" cy="4824412"/>
          </a:xfrm>
        </p:spPr>
        <p:txBody>
          <a:bodyPr vert="eaVert"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57213" y="1125538"/>
            <a:ext cx="5870575" cy="4824412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2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5" name="Rectangle 2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7243B70F-9778-449F-9AD0-CD003F85BD08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23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57213" y="908050"/>
            <a:ext cx="3938587" cy="48974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908050"/>
            <a:ext cx="3938588" cy="48974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0EBFC583-CC02-4498-8310-30A11C4081E0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80188" y="260350"/>
            <a:ext cx="2006600" cy="5545138"/>
          </a:xfrm>
        </p:spPr>
        <p:txBody>
          <a:bodyPr vert="eaVert"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57213" y="260350"/>
            <a:ext cx="5870575" cy="5545138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57213" y="908050"/>
            <a:ext cx="3938587" cy="48974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908050"/>
            <a:ext cx="3938588" cy="48974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07.xml"/><Relationship Id="rId10" Type="http://schemas.openxmlformats.org/officeDocument/2006/relationships/slideLayout" Target="../slideLayouts/slideLayout112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20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18.xml"/><Relationship Id="rId10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31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11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129.xml"/><Relationship Id="rId10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28.xml"/><Relationship Id="rId9" Type="http://schemas.openxmlformats.org/officeDocument/2006/relationships/slideLayout" Target="../slideLayouts/slideLayout133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38.xml"/><Relationship Id="rId7" Type="http://schemas.openxmlformats.org/officeDocument/2006/relationships/slideLayout" Target="../slideLayouts/slideLayout142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37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5" Type="http://schemas.openxmlformats.org/officeDocument/2006/relationships/slideLayout" Target="../slideLayouts/slideLayout140.xml"/><Relationship Id="rId10" Type="http://schemas.openxmlformats.org/officeDocument/2006/relationships/slideLayout" Target="../slideLayouts/slideLayout145.xml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9.xml"/><Relationship Id="rId7" Type="http://schemas.openxmlformats.org/officeDocument/2006/relationships/slideLayout" Target="../slideLayouts/slideLayout153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48.xml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11" Type="http://schemas.openxmlformats.org/officeDocument/2006/relationships/slideLayout" Target="../slideLayouts/slideLayout157.xml"/><Relationship Id="rId5" Type="http://schemas.openxmlformats.org/officeDocument/2006/relationships/slideLayout" Target="../slideLayouts/slideLayout151.xml"/><Relationship Id="rId10" Type="http://schemas.openxmlformats.org/officeDocument/2006/relationships/slideLayout" Target="../slideLayouts/slideLayout156.xml"/><Relationship Id="rId4" Type="http://schemas.openxmlformats.org/officeDocument/2006/relationships/slideLayout" Target="../slideLayouts/slideLayout150.xml"/><Relationship Id="rId9" Type="http://schemas.openxmlformats.org/officeDocument/2006/relationships/slideLayout" Target="../slideLayouts/slideLayout155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5.xml"/><Relationship Id="rId3" Type="http://schemas.openxmlformats.org/officeDocument/2006/relationships/slideLayout" Target="../slideLayouts/slideLayout160.xml"/><Relationship Id="rId7" Type="http://schemas.openxmlformats.org/officeDocument/2006/relationships/slideLayout" Target="../slideLayouts/slideLayout164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59.xml"/><Relationship Id="rId1" Type="http://schemas.openxmlformats.org/officeDocument/2006/relationships/slideLayout" Target="../slideLayouts/slideLayout158.xml"/><Relationship Id="rId6" Type="http://schemas.openxmlformats.org/officeDocument/2006/relationships/slideLayout" Target="../slideLayouts/slideLayout163.xml"/><Relationship Id="rId11" Type="http://schemas.openxmlformats.org/officeDocument/2006/relationships/slideLayout" Target="../slideLayouts/slideLayout168.xml"/><Relationship Id="rId5" Type="http://schemas.openxmlformats.org/officeDocument/2006/relationships/slideLayout" Target="../slideLayouts/slideLayout162.xml"/><Relationship Id="rId10" Type="http://schemas.openxmlformats.org/officeDocument/2006/relationships/slideLayout" Target="../slideLayouts/slideLayout167.xml"/><Relationship Id="rId4" Type="http://schemas.openxmlformats.org/officeDocument/2006/relationships/slideLayout" Target="../slideLayouts/slideLayout161.xml"/><Relationship Id="rId9" Type="http://schemas.openxmlformats.org/officeDocument/2006/relationships/slideLayout" Target="../slideLayouts/slideLayout166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6.xml"/><Relationship Id="rId3" Type="http://schemas.openxmlformats.org/officeDocument/2006/relationships/slideLayout" Target="../slideLayouts/slideLayout171.xml"/><Relationship Id="rId7" Type="http://schemas.openxmlformats.org/officeDocument/2006/relationships/slideLayout" Target="../slideLayouts/slideLayout175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170.xml"/><Relationship Id="rId1" Type="http://schemas.openxmlformats.org/officeDocument/2006/relationships/slideLayout" Target="../slideLayouts/slideLayout169.xml"/><Relationship Id="rId6" Type="http://schemas.openxmlformats.org/officeDocument/2006/relationships/slideLayout" Target="../slideLayouts/slideLayout174.xml"/><Relationship Id="rId11" Type="http://schemas.openxmlformats.org/officeDocument/2006/relationships/slideLayout" Target="../slideLayouts/slideLayout179.xml"/><Relationship Id="rId5" Type="http://schemas.openxmlformats.org/officeDocument/2006/relationships/slideLayout" Target="../slideLayouts/slideLayout173.xml"/><Relationship Id="rId10" Type="http://schemas.openxmlformats.org/officeDocument/2006/relationships/slideLayout" Target="../slideLayouts/slideLayout178.xml"/><Relationship Id="rId4" Type="http://schemas.openxmlformats.org/officeDocument/2006/relationships/slideLayout" Target="../slideLayouts/slideLayout172.xml"/><Relationship Id="rId9" Type="http://schemas.openxmlformats.org/officeDocument/2006/relationships/slideLayout" Target="../slideLayouts/slideLayout177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7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82.xml"/><Relationship Id="rId7" Type="http://schemas.openxmlformats.org/officeDocument/2006/relationships/slideLayout" Target="../slideLayouts/slideLayout186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181.xml"/><Relationship Id="rId1" Type="http://schemas.openxmlformats.org/officeDocument/2006/relationships/slideLayout" Target="../slideLayouts/slideLayout180.xml"/><Relationship Id="rId6" Type="http://schemas.openxmlformats.org/officeDocument/2006/relationships/slideLayout" Target="../slideLayouts/slideLayout185.xml"/><Relationship Id="rId11" Type="http://schemas.openxmlformats.org/officeDocument/2006/relationships/slideLayout" Target="../slideLayouts/slideLayout190.xml"/><Relationship Id="rId5" Type="http://schemas.openxmlformats.org/officeDocument/2006/relationships/slideLayout" Target="../slideLayouts/slideLayout184.xml"/><Relationship Id="rId10" Type="http://schemas.openxmlformats.org/officeDocument/2006/relationships/slideLayout" Target="../slideLayouts/slideLayout189.xml"/><Relationship Id="rId4" Type="http://schemas.openxmlformats.org/officeDocument/2006/relationships/slideLayout" Target="../slideLayouts/slideLayout183.xml"/><Relationship Id="rId9" Type="http://schemas.openxmlformats.org/officeDocument/2006/relationships/slideLayout" Target="../slideLayouts/slideLayout188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93.xml"/><Relationship Id="rId7" Type="http://schemas.openxmlformats.org/officeDocument/2006/relationships/slideLayout" Target="../slideLayouts/slideLayout197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192.xml"/><Relationship Id="rId1" Type="http://schemas.openxmlformats.org/officeDocument/2006/relationships/slideLayout" Target="../slideLayouts/slideLayout191.xml"/><Relationship Id="rId6" Type="http://schemas.openxmlformats.org/officeDocument/2006/relationships/slideLayout" Target="../slideLayouts/slideLayout196.xml"/><Relationship Id="rId11" Type="http://schemas.openxmlformats.org/officeDocument/2006/relationships/slideLayout" Target="../slideLayouts/slideLayout201.xml"/><Relationship Id="rId5" Type="http://schemas.openxmlformats.org/officeDocument/2006/relationships/slideLayout" Target="../slideLayouts/slideLayout195.xml"/><Relationship Id="rId10" Type="http://schemas.openxmlformats.org/officeDocument/2006/relationships/slideLayout" Target="../slideLayouts/slideLayout200.xml"/><Relationship Id="rId4" Type="http://schemas.openxmlformats.org/officeDocument/2006/relationships/slideLayout" Target="../slideLayouts/slideLayout194.xml"/><Relationship Id="rId9" Type="http://schemas.openxmlformats.org/officeDocument/2006/relationships/slideLayout" Target="../slideLayouts/slideLayout199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04.xml"/><Relationship Id="rId7" Type="http://schemas.openxmlformats.org/officeDocument/2006/relationships/slideLayout" Target="../slideLayouts/slideLayout208.xml"/><Relationship Id="rId12" Type="http://schemas.openxmlformats.org/officeDocument/2006/relationships/theme" Target="../theme/theme19.xml"/><Relationship Id="rId2" Type="http://schemas.openxmlformats.org/officeDocument/2006/relationships/slideLayout" Target="../slideLayouts/slideLayout203.xml"/><Relationship Id="rId1" Type="http://schemas.openxmlformats.org/officeDocument/2006/relationships/slideLayout" Target="../slideLayouts/slideLayout202.xml"/><Relationship Id="rId6" Type="http://schemas.openxmlformats.org/officeDocument/2006/relationships/slideLayout" Target="../slideLayouts/slideLayout207.xml"/><Relationship Id="rId11" Type="http://schemas.openxmlformats.org/officeDocument/2006/relationships/slideLayout" Target="../slideLayouts/slideLayout212.xml"/><Relationship Id="rId5" Type="http://schemas.openxmlformats.org/officeDocument/2006/relationships/slideLayout" Target="../slideLayouts/slideLayout206.xml"/><Relationship Id="rId10" Type="http://schemas.openxmlformats.org/officeDocument/2006/relationships/slideLayout" Target="../slideLayouts/slideLayout211.xml"/><Relationship Id="rId4" Type="http://schemas.openxmlformats.org/officeDocument/2006/relationships/slideLayout" Target="../slideLayouts/slideLayout205.xml"/><Relationship Id="rId9" Type="http://schemas.openxmlformats.org/officeDocument/2006/relationships/slideLayout" Target="../slideLayouts/slideLayout21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0.xml"/><Relationship Id="rId3" Type="http://schemas.openxmlformats.org/officeDocument/2006/relationships/slideLayout" Target="../slideLayouts/slideLayout215.xml"/><Relationship Id="rId7" Type="http://schemas.openxmlformats.org/officeDocument/2006/relationships/slideLayout" Target="../slideLayouts/slideLayout219.xml"/><Relationship Id="rId12" Type="http://schemas.openxmlformats.org/officeDocument/2006/relationships/theme" Target="../theme/theme20.xml"/><Relationship Id="rId2" Type="http://schemas.openxmlformats.org/officeDocument/2006/relationships/slideLayout" Target="../slideLayouts/slideLayout214.xml"/><Relationship Id="rId1" Type="http://schemas.openxmlformats.org/officeDocument/2006/relationships/slideLayout" Target="../slideLayouts/slideLayout213.xml"/><Relationship Id="rId6" Type="http://schemas.openxmlformats.org/officeDocument/2006/relationships/slideLayout" Target="../slideLayouts/slideLayout218.xml"/><Relationship Id="rId11" Type="http://schemas.openxmlformats.org/officeDocument/2006/relationships/slideLayout" Target="../slideLayouts/slideLayout223.xml"/><Relationship Id="rId5" Type="http://schemas.openxmlformats.org/officeDocument/2006/relationships/slideLayout" Target="../slideLayouts/slideLayout217.xml"/><Relationship Id="rId10" Type="http://schemas.openxmlformats.org/officeDocument/2006/relationships/slideLayout" Target="../slideLayouts/slideLayout222.xml"/><Relationship Id="rId4" Type="http://schemas.openxmlformats.org/officeDocument/2006/relationships/slideLayout" Target="../slideLayouts/slideLayout216.xml"/><Relationship Id="rId9" Type="http://schemas.openxmlformats.org/officeDocument/2006/relationships/slideLayout" Target="../slideLayouts/slideLayout221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1.xml"/><Relationship Id="rId3" Type="http://schemas.openxmlformats.org/officeDocument/2006/relationships/slideLayout" Target="../slideLayouts/slideLayout226.xml"/><Relationship Id="rId7" Type="http://schemas.openxmlformats.org/officeDocument/2006/relationships/slideLayout" Target="../slideLayouts/slideLayout230.xml"/><Relationship Id="rId12" Type="http://schemas.openxmlformats.org/officeDocument/2006/relationships/theme" Target="../theme/theme21.xml"/><Relationship Id="rId2" Type="http://schemas.openxmlformats.org/officeDocument/2006/relationships/slideLayout" Target="../slideLayouts/slideLayout225.xml"/><Relationship Id="rId1" Type="http://schemas.openxmlformats.org/officeDocument/2006/relationships/slideLayout" Target="../slideLayouts/slideLayout224.xml"/><Relationship Id="rId6" Type="http://schemas.openxmlformats.org/officeDocument/2006/relationships/slideLayout" Target="../slideLayouts/slideLayout229.xml"/><Relationship Id="rId11" Type="http://schemas.openxmlformats.org/officeDocument/2006/relationships/slideLayout" Target="../slideLayouts/slideLayout234.xml"/><Relationship Id="rId5" Type="http://schemas.openxmlformats.org/officeDocument/2006/relationships/slideLayout" Target="../slideLayouts/slideLayout228.xml"/><Relationship Id="rId10" Type="http://schemas.openxmlformats.org/officeDocument/2006/relationships/slideLayout" Target="../slideLayouts/slideLayout233.xml"/><Relationship Id="rId4" Type="http://schemas.openxmlformats.org/officeDocument/2006/relationships/slideLayout" Target="../slideLayouts/slideLayout227.xml"/><Relationship Id="rId9" Type="http://schemas.openxmlformats.org/officeDocument/2006/relationships/slideLayout" Target="../slideLayouts/slideLayout232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2.xml"/><Relationship Id="rId3" Type="http://schemas.openxmlformats.org/officeDocument/2006/relationships/slideLayout" Target="../slideLayouts/slideLayout237.xml"/><Relationship Id="rId7" Type="http://schemas.openxmlformats.org/officeDocument/2006/relationships/slideLayout" Target="../slideLayouts/slideLayout241.xml"/><Relationship Id="rId12" Type="http://schemas.openxmlformats.org/officeDocument/2006/relationships/theme" Target="../theme/theme22.xml"/><Relationship Id="rId2" Type="http://schemas.openxmlformats.org/officeDocument/2006/relationships/slideLayout" Target="../slideLayouts/slideLayout236.xml"/><Relationship Id="rId1" Type="http://schemas.openxmlformats.org/officeDocument/2006/relationships/slideLayout" Target="../slideLayouts/slideLayout235.xml"/><Relationship Id="rId6" Type="http://schemas.openxmlformats.org/officeDocument/2006/relationships/slideLayout" Target="../slideLayouts/slideLayout240.xml"/><Relationship Id="rId11" Type="http://schemas.openxmlformats.org/officeDocument/2006/relationships/slideLayout" Target="../slideLayouts/slideLayout245.xml"/><Relationship Id="rId5" Type="http://schemas.openxmlformats.org/officeDocument/2006/relationships/slideLayout" Target="../slideLayouts/slideLayout239.xml"/><Relationship Id="rId10" Type="http://schemas.openxmlformats.org/officeDocument/2006/relationships/slideLayout" Target="../slideLayouts/slideLayout244.xml"/><Relationship Id="rId4" Type="http://schemas.openxmlformats.org/officeDocument/2006/relationships/slideLayout" Target="../slideLayouts/slideLayout238.xml"/><Relationship Id="rId9" Type="http://schemas.openxmlformats.org/officeDocument/2006/relationships/slideLayout" Target="../slideLayouts/slideLayout243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3.xml"/><Relationship Id="rId3" Type="http://schemas.openxmlformats.org/officeDocument/2006/relationships/slideLayout" Target="../slideLayouts/slideLayout248.xml"/><Relationship Id="rId7" Type="http://schemas.openxmlformats.org/officeDocument/2006/relationships/slideLayout" Target="../slideLayouts/slideLayout252.xml"/><Relationship Id="rId12" Type="http://schemas.openxmlformats.org/officeDocument/2006/relationships/theme" Target="../theme/theme23.xml"/><Relationship Id="rId2" Type="http://schemas.openxmlformats.org/officeDocument/2006/relationships/slideLayout" Target="../slideLayouts/slideLayout247.xml"/><Relationship Id="rId1" Type="http://schemas.openxmlformats.org/officeDocument/2006/relationships/slideLayout" Target="../slideLayouts/slideLayout246.xml"/><Relationship Id="rId6" Type="http://schemas.openxmlformats.org/officeDocument/2006/relationships/slideLayout" Target="../slideLayouts/slideLayout251.xml"/><Relationship Id="rId11" Type="http://schemas.openxmlformats.org/officeDocument/2006/relationships/slideLayout" Target="../slideLayouts/slideLayout256.xml"/><Relationship Id="rId5" Type="http://schemas.openxmlformats.org/officeDocument/2006/relationships/slideLayout" Target="../slideLayouts/slideLayout250.xml"/><Relationship Id="rId10" Type="http://schemas.openxmlformats.org/officeDocument/2006/relationships/slideLayout" Target="../slideLayouts/slideLayout255.xml"/><Relationship Id="rId4" Type="http://schemas.openxmlformats.org/officeDocument/2006/relationships/slideLayout" Target="../slideLayouts/slideLayout249.xml"/><Relationship Id="rId9" Type="http://schemas.openxmlformats.org/officeDocument/2006/relationships/slideLayout" Target="../slideLayouts/slideLayout254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59.xml"/><Relationship Id="rId7" Type="http://schemas.openxmlformats.org/officeDocument/2006/relationships/slideLayout" Target="../slideLayouts/slideLayout263.xml"/><Relationship Id="rId12" Type="http://schemas.openxmlformats.org/officeDocument/2006/relationships/theme" Target="../theme/theme24.xml"/><Relationship Id="rId2" Type="http://schemas.openxmlformats.org/officeDocument/2006/relationships/slideLayout" Target="../slideLayouts/slideLayout258.xml"/><Relationship Id="rId1" Type="http://schemas.openxmlformats.org/officeDocument/2006/relationships/slideLayout" Target="../slideLayouts/slideLayout257.xml"/><Relationship Id="rId6" Type="http://schemas.openxmlformats.org/officeDocument/2006/relationships/slideLayout" Target="../slideLayouts/slideLayout262.xml"/><Relationship Id="rId11" Type="http://schemas.openxmlformats.org/officeDocument/2006/relationships/slideLayout" Target="../slideLayouts/slideLayout267.xml"/><Relationship Id="rId5" Type="http://schemas.openxmlformats.org/officeDocument/2006/relationships/slideLayout" Target="../slideLayouts/slideLayout261.xml"/><Relationship Id="rId10" Type="http://schemas.openxmlformats.org/officeDocument/2006/relationships/slideLayout" Target="../slideLayouts/slideLayout266.xml"/><Relationship Id="rId4" Type="http://schemas.openxmlformats.org/officeDocument/2006/relationships/slideLayout" Target="../slideLayouts/slideLayout260.xml"/><Relationship Id="rId9" Type="http://schemas.openxmlformats.org/officeDocument/2006/relationships/slideLayout" Target="../slideLayouts/slideLayout265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5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70.xml"/><Relationship Id="rId7" Type="http://schemas.openxmlformats.org/officeDocument/2006/relationships/slideLayout" Target="../slideLayouts/slideLayout274.xml"/><Relationship Id="rId12" Type="http://schemas.openxmlformats.org/officeDocument/2006/relationships/theme" Target="../theme/theme25.xml"/><Relationship Id="rId2" Type="http://schemas.openxmlformats.org/officeDocument/2006/relationships/slideLayout" Target="../slideLayouts/slideLayout269.xml"/><Relationship Id="rId1" Type="http://schemas.openxmlformats.org/officeDocument/2006/relationships/slideLayout" Target="../slideLayouts/slideLayout268.xml"/><Relationship Id="rId6" Type="http://schemas.openxmlformats.org/officeDocument/2006/relationships/slideLayout" Target="../slideLayouts/slideLayout273.xml"/><Relationship Id="rId11" Type="http://schemas.openxmlformats.org/officeDocument/2006/relationships/slideLayout" Target="../slideLayouts/slideLayout278.xml"/><Relationship Id="rId5" Type="http://schemas.openxmlformats.org/officeDocument/2006/relationships/slideLayout" Target="../slideLayouts/slideLayout272.xml"/><Relationship Id="rId10" Type="http://schemas.openxmlformats.org/officeDocument/2006/relationships/slideLayout" Target="../slideLayouts/slideLayout277.xml"/><Relationship Id="rId4" Type="http://schemas.openxmlformats.org/officeDocument/2006/relationships/slideLayout" Target="../slideLayouts/slideLayout271.xml"/><Relationship Id="rId9" Type="http://schemas.openxmlformats.org/officeDocument/2006/relationships/slideLayout" Target="../slideLayouts/slideLayout276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81.xml"/><Relationship Id="rId7" Type="http://schemas.openxmlformats.org/officeDocument/2006/relationships/slideLayout" Target="../slideLayouts/slideLayout285.xml"/><Relationship Id="rId12" Type="http://schemas.openxmlformats.org/officeDocument/2006/relationships/theme" Target="../theme/theme26.xml"/><Relationship Id="rId2" Type="http://schemas.openxmlformats.org/officeDocument/2006/relationships/slideLayout" Target="../slideLayouts/slideLayout280.xml"/><Relationship Id="rId1" Type="http://schemas.openxmlformats.org/officeDocument/2006/relationships/slideLayout" Target="../slideLayouts/slideLayout279.xml"/><Relationship Id="rId6" Type="http://schemas.openxmlformats.org/officeDocument/2006/relationships/slideLayout" Target="../slideLayouts/slideLayout284.xml"/><Relationship Id="rId11" Type="http://schemas.openxmlformats.org/officeDocument/2006/relationships/slideLayout" Target="../slideLayouts/slideLayout289.xml"/><Relationship Id="rId5" Type="http://schemas.openxmlformats.org/officeDocument/2006/relationships/slideLayout" Target="../slideLayouts/slideLayout283.xml"/><Relationship Id="rId10" Type="http://schemas.openxmlformats.org/officeDocument/2006/relationships/slideLayout" Target="../slideLayouts/slideLayout288.xml"/><Relationship Id="rId4" Type="http://schemas.openxmlformats.org/officeDocument/2006/relationships/slideLayout" Target="../slideLayouts/slideLayout282.xml"/><Relationship Id="rId9" Type="http://schemas.openxmlformats.org/officeDocument/2006/relationships/slideLayout" Target="../slideLayouts/slideLayout287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7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92.xml"/><Relationship Id="rId7" Type="http://schemas.openxmlformats.org/officeDocument/2006/relationships/slideLayout" Target="../slideLayouts/slideLayout296.xml"/><Relationship Id="rId12" Type="http://schemas.openxmlformats.org/officeDocument/2006/relationships/theme" Target="../theme/theme27.xml"/><Relationship Id="rId2" Type="http://schemas.openxmlformats.org/officeDocument/2006/relationships/slideLayout" Target="../slideLayouts/slideLayout291.xml"/><Relationship Id="rId1" Type="http://schemas.openxmlformats.org/officeDocument/2006/relationships/slideLayout" Target="../slideLayouts/slideLayout290.xml"/><Relationship Id="rId6" Type="http://schemas.openxmlformats.org/officeDocument/2006/relationships/slideLayout" Target="../slideLayouts/slideLayout295.xml"/><Relationship Id="rId11" Type="http://schemas.openxmlformats.org/officeDocument/2006/relationships/slideLayout" Target="../slideLayouts/slideLayout300.xml"/><Relationship Id="rId5" Type="http://schemas.openxmlformats.org/officeDocument/2006/relationships/slideLayout" Target="../slideLayouts/slideLayout294.xml"/><Relationship Id="rId10" Type="http://schemas.openxmlformats.org/officeDocument/2006/relationships/slideLayout" Target="../slideLayouts/slideLayout299.xml"/><Relationship Id="rId4" Type="http://schemas.openxmlformats.org/officeDocument/2006/relationships/slideLayout" Target="../slideLayouts/slideLayout293.xml"/><Relationship Id="rId9" Type="http://schemas.openxmlformats.org/officeDocument/2006/relationships/slideLayout" Target="../slideLayouts/slideLayout298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8.xml"/><Relationship Id="rId3" Type="http://schemas.openxmlformats.org/officeDocument/2006/relationships/slideLayout" Target="../slideLayouts/slideLayout303.xml"/><Relationship Id="rId7" Type="http://schemas.openxmlformats.org/officeDocument/2006/relationships/slideLayout" Target="../slideLayouts/slideLayout307.xml"/><Relationship Id="rId12" Type="http://schemas.openxmlformats.org/officeDocument/2006/relationships/theme" Target="../theme/theme28.xml"/><Relationship Id="rId2" Type="http://schemas.openxmlformats.org/officeDocument/2006/relationships/slideLayout" Target="../slideLayouts/slideLayout302.xml"/><Relationship Id="rId1" Type="http://schemas.openxmlformats.org/officeDocument/2006/relationships/slideLayout" Target="../slideLayouts/slideLayout301.xml"/><Relationship Id="rId6" Type="http://schemas.openxmlformats.org/officeDocument/2006/relationships/slideLayout" Target="../slideLayouts/slideLayout306.xml"/><Relationship Id="rId11" Type="http://schemas.openxmlformats.org/officeDocument/2006/relationships/slideLayout" Target="../slideLayouts/slideLayout311.xml"/><Relationship Id="rId5" Type="http://schemas.openxmlformats.org/officeDocument/2006/relationships/slideLayout" Target="../slideLayouts/slideLayout305.xml"/><Relationship Id="rId10" Type="http://schemas.openxmlformats.org/officeDocument/2006/relationships/slideLayout" Target="../slideLayouts/slideLayout310.xml"/><Relationship Id="rId4" Type="http://schemas.openxmlformats.org/officeDocument/2006/relationships/slideLayout" Target="../slideLayouts/slideLayout304.xml"/><Relationship Id="rId9" Type="http://schemas.openxmlformats.org/officeDocument/2006/relationships/slideLayout" Target="../slideLayouts/slideLayout309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9.xml"/><Relationship Id="rId3" Type="http://schemas.openxmlformats.org/officeDocument/2006/relationships/slideLayout" Target="../slideLayouts/slideLayout314.xml"/><Relationship Id="rId7" Type="http://schemas.openxmlformats.org/officeDocument/2006/relationships/slideLayout" Target="../slideLayouts/slideLayout318.xml"/><Relationship Id="rId12" Type="http://schemas.openxmlformats.org/officeDocument/2006/relationships/theme" Target="../theme/theme29.xml"/><Relationship Id="rId2" Type="http://schemas.openxmlformats.org/officeDocument/2006/relationships/slideLayout" Target="../slideLayouts/slideLayout313.xml"/><Relationship Id="rId1" Type="http://schemas.openxmlformats.org/officeDocument/2006/relationships/slideLayout" Target="../slideLayouts/slideLayout312.xml"/><Relationship Id="rId6" Type="http://schemas.openxmlformats.org/officeDocument/2006/relationships/slideLayout" Target="../slideLayouts/slideLayout317.xml"/><Relationship Id="rId11" Type="http://schemas.openxmlformats.org/officeDocument/2006/relationships/slideLayout" Target="../slideLayouts/slideLayout322.xml"/><Relationship Id="rId5" Type="http://schemas.openxmlformats.org/officeDocument/2006/relationships/slideLayout" Target="../slideLayouts/slideLayout316.xml"/><Relationship Id="rId10" Type="http://schemas.openxmlformats.org/officeDocument/2006/relationships/slideLayout" Target="../slideLayouts/slideLayout321.xml"/><Relationship Id="rId4" Type="http://schemas.openxmlformats.org/officeDocument/2006/relationships/slideLayout" Target="../slideLayouts/slideLayout315.xml"/><Relationship Id="rId9" Type="http://schemas.openxmlformats.org/officeDocument/2006/relationships/slideLayout" Target="../slideLayouts/slideLayout3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25.xml"/><Relationship Id="rId7" Type="http://schemas.openxmlformats.org/officeDocument/2006/relationships/slideLayout" Target="../slideLayouts/slideLayout329.xml"/><Relationship Id="rId12" Type="http://schemas.openxmlformats.org/officeDocument/2006/relationships/theme" Target="../theme/theme30.xml"/><Relationship Id="rId2" Type="http://schemas.openxmlformats.org/officeDocument/2006/relationships/slideLayout" Target="../slideLayouts/slideLayout324.xml"/><Relationship Id="rId1" Type="http://schemas.openxmlformats.org/officeDocument/2006/relationships/slideLayout" Target="../slideLayouts/slideLayout323.xml"/><Relationship Id="rId6" Type="http://schemas.openxmlformats.org/officeDocument/2006/relationships/slideLayout" Target="../slideLayouts/slideLayout328.xml"/><Relationship Id="rId11" Type="http://schemas.openxmlformats.org/officeDocument/2006/relationships/slideLayout" Target="../slideLayouts/slideLayout333.xml"/><Relationship Id="rId5" Type="http://schemas.openxmlformats.org/officeDocument/2006/relationships/slideLayout" Target="../slideLayouts/slideLayout327.xml"/><Relationship Id="rId10" Type="http://schemas.openxmlformats.org/officeDocument/2006/relationships/slideLayout" Target="../slideLayouts/slideLayout332.xml"/><Relationship Id="rId4" Type="http://schemas.openxmlformats.org/officeDocument/2006/relationships/slideLayout" Target="../slideLayouts/slideLayout326.xml"/><Relationship Id="rId9" Type="http://schemas.openxmlformats.org/officeDocument/2006/relationships/slideLayout" Target="../slideLayouts/slideLayout331.xml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1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36.xml"/><Relationship Id="rId7" Type="http://schemas.openxmlformats.org/officeDocument/2006/relationships/slideLayout" Target="../slideLayouts/slideLayout340.xml"/><Relationship Id="rId12" Type="http://schemas.openxmlformats.org/officeDocument/2006/relationships/theme" Target="../theme/theme31.xml"/><Relationship Id="rId2" Type="http://schemas.openxmlformats.org/officeDocument/2006/relationships/slideLayout" Target="../slideLayouts/slideLayout335.xml"/><Relationship Id="rId1" Type="http://schemas.openxmlformats.org/officeDocument/2006/relationships/slideLayout" Target="../slideLayouts/slideLayout334.xml"/><Relationship Id="rId6" Type="http://schemas.openxmlformats.org/officeDocument/2006/relationships/slideLayout" Target="../slideLayouts/slideLayout339.xml"/><Relationship Id="rId11" Type="http://schemas.openxmlformats.org/officeDocument/2006/relationships/slideLayout" Target="../slideLayouts/slideLayout344.xml"/><Relationship Id="rId5" Type="http://schemas.openxmlformats.org/officeDocument/2006/relationships/slideLayout" Target="../slideLayouts/slideLayout338.xml"/><Relationship Id="rId10" Type="http://schemas.openxmlformats.org/officeDocument/2006/relationships/slideLayout" Target="../slideLayouts/slideLayout343.xml"/><Relationship Id="rId4" Type="http://schemas.openxmlformats.org/officeDocument/2006/relationships/slideLayout" Target="../slideLayouts/slideLayout337.xml"/><Relationship Id="rId9" Type="http://schemas.openxmlformats.org/officeDocument/2006/relationships/slideLayout" Target="../slideLayouts/slideLayout342.xml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47.xml"/><Relationship Id="rId7" Type="http://schemas.openxmlformats.org/officeDocument/2006/relationships/slideLayout" Target="../slideLayouts/slideLayout351.xml"/><Relationship Id="rId12" Type="http://schemas.openxmlformats.org/officeDocument/2006/relationships/theme" Target="../theme/theme32.xml"/><Relationship Id="rId2" Type="http://schemas.openxmlformats.org/officeDocument/2006/relationships/slideLayout" Target="../slideLayouts/slideLayout346.xml"/><Relationship Id="rId1" Type="http://schemas.openxmlformats.org/officeDocument/2006/relationships/slideLayout" Target="../slideLayouts/slideLayout345.xml"/><Relationship Id="rId6" Type="http://schemas.openxmlformats.org/officeDocument/2006/relationships/slideLayout" Target="../slideLayouts/slideLayout350.xml"/><Relationship Id="rId11" Type="http://schemas.openxmlformats.org/officeDocument/2006/relationships/slideLayout" Target="../slideLayouts/slideLayout355.xml"/><Relationship Id="rId5" Type="http://schemas.openxmlformats.org/officeDocument/2006/relationships/slideLayout" Target="../slideLayouts/slideLayout349.xml"/><Relationship Id="rId10" Type="http://schemas.openxmlformats.org/officeDocument/2006/relationships/slideLayout" Target="../slideLayouts/slideLayout354.xml"/><Relationship Id="rId4" Type="http://schemas.openxmlformats.org/officeDocument/2006/relationships/slideLayout" Target="../slideLayouts/slideLayout348.xml"/><Relationship Id="rId9" Type="http://schemas.openxmlformats.org/officeDocument/2006/relationships/slideLayout" Target="../slideLayouts/slideLayout353.xml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3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58.xml"/><Relationship Id="rId7" Type="http://schemas.openxmlformats.org/officeDocument/2006/relationships/slideLayout" Target="../slideLayouts/slideLayout362.xml"/><Relationship Id="rId12" Type="http://schemas.openxmlformats.org/officeDocument/2006/relationships/theme" Target="../theme/theme33.xml"/><Relationship Id="rId2" Type="http://schemas.openxmlformats.org/officeDocument/2006/relationships/slideLayout" Target="../slideLayouts/slideLayout357.xml"/><Relationship Id="rId1" Type="http://schemas.openxmlformats.org/officeDocument/2006/relationships/slideLayout" Target="../slideLayouts/slideLayout356.xml"/><Relationship Id="rId6" Type="http://schemas.openxmlformats.org/officeDocument/2006/relationships/slideLayout" Target="../slideLayouts/slideLayout361.xml"/><Relationship Id="rId11" Type="http://schemas.openxmlformats.org/officeDocument/2006/relationships/slideLayout" Target="../slideLayouts/slideLayout366.xml"/><Relationship Id="rId5" Type="http://schemas.openxmlformats.org/officeDocument/2006/relationships/slideLayout" Target="../slideLayouts/slideLayout360.xml"/><Relationship Id="rId10" Type="http://schemas.openxmlformats.org/officeDocument/2006/relationships/slideLayout" Target="../slideLayouts/slideLayout365.xml"/><Relationship Id="rId4" Type="http://schemas.openxmlformats.org/officeDocument/2006/relationships/slideLayout" Target="../slideLayouts/slideLayout359.xml"/><Relationship Id="rId9" Type="http://schemas.openxmlformats.org/officeDocument/2006/relationships/slideLayout" Target="../slideLayouts/slideLayout36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3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8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96.xml"/><Relationship Id="rId10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group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gray">
          <a:xfrm>
            <a:off x="287338" y="6091238"/>
            <a:ext cx="3065462" cy="766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1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260350"/>
            <a:ext cx="7831137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1052513"/>
            <a:ext cx="8029575" cy="489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728071" name="Rectangle 7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b="1">
                <a:latin typeface="Arial" charset="0"/>
                <a:ea typeface="ＭＳ Ｐゴシック" charset="-128"/>
              </a:defRPr>
            </a:lvl1pPr>
          </a:lstStyle>
          <a:p>
            <a:pPr>
              <a:defRPr/>
            </a:pPr>
            <a:r>
              <a:rPr lang="fr-FR"/>
              <a:t>P.</a:t>
            </a:r>
            <a:fld id="{A34C2986-879C-4331-95D3-5583B0D05719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28072" name="Rectangle 8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771775" y="6416675"/>
            <a:ext cx="3597275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/>
            </a:lvl1pPr>
          </a:lstStyle>
          <a:p>
            <a:endParaRPr lang="fr-FR"/>
          </a:p>
        </p:txBody>
      </p:sp>
      <p:sp>
        <p:nvSpPr>
          <p:cNvPr id="728074" name="Line 10"/>
          <p:cNvSpPr>
            <a:spLocks noChangeShapeType="1"/>
          </p:cNvSpPr>
          <p:nvPr/>
        </p:nvSpPr>
        <p:spPr bwMode="gray">
          <a:xfrm flipH="1">
            <a:off x="323850" y="6194425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ＭＳ Ｐゴシック" charset="0"/>
            </a:endParaRPr>
          </a:p>
        </p:txBody>
      </p:sp>
      <p:sp>
        <p:nvSpPr>
          <p:cNvPr id="728076" name="Line 12"/>
          <p:cNvSpPr>
            <a:spLocks noChangeShapeType="1"/>
          </p:cNvSpPr>
          <p:nvPr/>
        </p:nvSpPr>
        <p:spPr bwMode="gray">
          <a:xfrm flipH="1">
            <a:off x="323850" y="755650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ＭＳ Ｐゴシック" charset="0"/>
            </a:endParaRPr>
          </a:p>
        </p:txBody>
      </p:sp>
      <p:sp>
        <p:nvSpPr>
          <p:cNvPr id="728077" name="Rectangle 13"/>
          <p:cNvSpPr>
            <a:spLocks noChangeArrowheads="1"/>
          </p:cNvSpPr>
          <p:nvPr/>
        </p:nvSpPr>
        <p:spPr bwMode="gray">
          <a:xfrm>
            <a:off x="8426450" y="6415088"/>
            <a:ext cx="71438" cy="442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/>
          <a:lstStyle/>
          <a:p>
            <a:pPr>
              <a:defRPr/>
            </a:pPr>
            <a:r>
              <a:rPr lang="fr-FR" sz="800" b="1">
                <a:latin typeface="Arial" charset="0"/>
                <a:ea typeface="ＭＳ Ｐゴシック" charset="0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420" r:id="rId1"/>
    <p:sldLayoutId id="2147486069" r:id="rId2"/>
    <p:sldLayoutId id="2147486068" r:id="rId3"/>
    <p:sldLayoutId id="2147486067" r:id="rId4"/>
    <p:sldLayoutId id="2147486066" r:id="rId5"/>
    <p:sldLayoutId id="2147486065" r:id="rId6"/>
    <p:sldLayoutId id="2147486064" r:id="rId7"/>
    <p:sldLayoutId id="2147486063" r:id="rId8"/>
    <p:sldLayoutId id="2147486062" r:id="rId9"/>
    <p:sldLayoutId id="2147486061" r:id="rId10"/>
    <p:sldLayoutId id="2147486060" r:id="rId11"/>
    <p:sldLayoutId id="2147486059" r:id="rId12"/>
    <p:sldLayoutId id="2147486058" r:id="rId13"/>
    <p:sldLayoutId id="2147486057" r:id="rId14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+mj-lt"/>
          <a:ea typeface="ＭＳ Ｐゴシック" pitchFamily="34" charset="-128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charset="0"/>
          <a:cs typeface="Arial" charset="0"/>
        </a:defRPr>
      </a:lvl9pPr>
    </p:titleStyle>
    <p:bodyStyle>
      <a:lvl1pPr marL="180975" indent="-180975" algn="l" rtl="0" eaLnBrk="0" fontAlgn="base" hangingPunct="0">
        <a:spcBef>
          <a:spcPct val="100000"/>
        </a:spcBef>
        <a:spcAft>
          <a:spcPct val="0"/>
        </a:spcAft>
        <a:buClr>
          <a:srgbClr val="666666"/>
        </a:buClr>
        <a:buFont typeface="Wingdings" pitchFamily="2" charset="2"/>
        <a:buChar char="§"/>
        <a:defRPr sz="1600" b="1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1pPr>
      <a:lvl2pPr marL="360363" indent="-177800" algn="l" rtl="0" eaLnBrk="0" fontAlgn="base" hangingPunct="0">
        <a:spcBef>
          <a:spcPct val="50000"/>
        </a:spcBef>
        <a:spcAft>
          <a:spcPct val="0"/>
        </a:spcAft>
        <a:buChar char="•"/>
        <a:defRPr sz="13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2pPr>
      <a:lvl3pPr marL="542925" indent="-180975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▫"/>
        <a:defRPr sz="11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3pPr>
      <a:lvl4pPr marL="723900" indent="-17938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-"/>
        <a:defRPr sz="9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4pPr>
      <a:lvl5pPr marL="885825" indent="-16033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5pPr>
      <a:lvl6pPr marL="13430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ea typeface="Arial" charset="0"/>
          <a:cs typeface="+mn-cs"/>
        </a:defRPr>
      </a:lvl6pPr>
      <a:lvl7pPr marL="18002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ea typeface="Arial" charset="0"/>
          <a:cs typeface="+mn-cs"/>
        </a:defRPr>
      </a:lvl7pPr>
      <a:lvl8pPr marL="22574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ea typeface="Arial" charset="0"/>
          <a:cs typeface="+mn-cs"/>
        </a:defRPr>
      </a:lvl8pPr>
      <a:lvl9pPr marL="27146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ea typeface="Arial" charset="0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260350"/>
            <a:ext cx="7831137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16387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908050"/>
            <a:ext cx="8029575" cy="4897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1010697" name="Line 9"/>
          <p:cNvSpPr>
            <a:spLocks noChangeShapeType="1"/>
          </p:cNvSpPr>
          <p:nvPr/>
        </p:nvSpPr>
        <p:spPr bwMode="gray">
          <a:xfrm flipH="1">
            <a:off x="323850" y="755650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+mn-ea"/>
            </a:endParaRPr>
          </a:p>
        </p:txBody>
      </p:sp>
      <p:pic>
        <p:nvPicPr>
          <p:cNvPr id="16389" name="Picture 5" descr="group"/>
          <p:cNvPicPr>
            <a:picLocks noChangeAspect="1" noChangeArrowheads="1"/>
          </p:cNvPicPr>
          <p:nvPr userDrawn="1"/>
        </p:nvPicPr>
        <p:blipFill>
          <a:blip r:embed="rId13"/>
          <a:srcRect/>
          <a:stretch>
            <a:fillRect/>
          </a:stretch>
        </p:blipFill>
        <p:spPr bwMode="gray">
          <a:xfrm>
            <a:off x="430213" y="6270625"/>
            <a:ext cx="3065462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566" name="Rectangle 6"/>
          <p:cNvSpPr>
            <a:spLocks noChangeArrowheads="1"/>
          </p:cNvSpPr>
          <p:nvPr/>
        </p:nvSpPr>
        <p:spPr bwMode="gray">
          <a:xfrm>
            <a:off x="6753225" y="6596063"/>
            <a:ext cx="1814513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36000" bIns="0"/>
          <a:lstStyle/>
          <a:p>
            <a:pPr algn="r">
              <a:defRPr/>
            </a:pPr>
            <a:fld id="{25EEF6E5-0193-4998-A6CC-B70F7A1BE743}" type="datetimeFigureOut">
              <a:rPr lang="fr-FR" sz="800">
                <a:latin typeface="Arial" charset="0"/>
                <a:ea typeface="MS PGothic" pitchFamily="34" charset="-128"/>
              </a:rPr>
              <a:pPr algn="r">
                <a:defRPr/>
              </a:pPr>
              <a:t>22/04/2015</a:t>
            </a:fld>
            <a:endParaRPr lang="fr-FR" sz="800">
              <a:latin typeface="Arial" charset="0"/>
              <a:ea typeface="MS PGothic" pitchFamily="34" charset="-128"/>
            </a:endParaRPr>
          </a:p>
        </p:txBody>
      </p:sp>
      <p:sp>
        <p:nvSpPr>
          <p:cNvPr id="194567" name="Rectangle 7"/>
          <p:cNvSpPr>
            <a:spLocks noChangeArrowheads="1"/>
          </p:cNvSpPr>
          <p:nvPr/>
        </p:nvSpPr>
        <p:spPr bwMode="gray">
          <a:xfrm>
            <a:off x="8639175" y="6596063"/>
            <a:ext cx="360363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r">
              <a:defRPr/>
            </a:pPr>
            <a:r>
              <a:rPr lang="fr-FR" sz="800" b="1">
                <a:latin typeface="Arial" charset="0"/>
                <a:ea typeface="MS PGothic" pitchFamily="34" charset="-128"/>
              </a:rPr>
              <a:t>P.</a:t>
            </a:r>
            <a:fld id="{85CF19A1-1EA0-41F6-A075-6F1525F87979}" type="slidenum">
              <a:rPr lang="fr-FR" sz="800" b="1">
                <a:latin typeface="Arial" charset="0"/>
                <a:ea typeface="MS PGothic" pitchFamily="34" charset="-128"/>
              </a:rPr>
              <a:pPr algn="r">
                <a:defRPr/>
              </a:pPr>
              <a:t>‹N°›</a:t>
            </a:fld>
            <a:endParaRPr lang="fr-FR" sz="800" b="1">
              <a:latin typeface="Arial" charset="0"/>
              <a:ea typeface="MS PGothic" pitchFamily="34" charset="-128"/>
            </a:endParaRPr>
          </a:p>
        </p:txBody>
      </p:sp>
      <p:sp>
        <p:nvSpPr>
          <p:cNvPr id="194568" name="Rectangle 8"/>
          <p:cNvSpPr>
            <a:spLocks noChangeArrowheads="1"/>
          </p:cNvSpPr>
          <p:nvPr/>
        </p:nvSpPr>
        <p:spPr bwMode="gray">
          <a:xfrm>
            <a:off x="2951163" y="6596063"/>
            <a:ext cx="3597275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endParaRPr lang="fr-FR" sz="800">
              <a:latin typeface="Arial" charset="0"/>
              <a:ea typeface="MS PGothic" pitchFamily="34" charset="-128"/>
            </a:endParaRPr>
          </a:p>
        </p:txBody>
      </p:sp>
      <p:sp>
        <p:nvSpPr>
          <p:cNvPr id="194569" name="Line 9"/>
          <p:cNvSpPr>
            <a:spLocks noChangeShapeType="1"/>
          </p:cNvSpPr>
          <p:nvPr userDrawn="1"/>
        </p:nvSpPr>
        <p:spPr bwMode="gray">
          <a:xfrm flipH="1">
            <a:off x="430213" y="6488113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MS PGothic" pitchFamily="34" charset="-128"/>
            </a:endParaRPr>
          </a:p>
        </p:txBody>
      </p:sp>
      <p:sp>
        <p:nvSpPr>
          <p:cNvPr id="194570" name="Rectangle 10"/>
          <p:cNvSpPr>
            <a:spLocks noChangeArrowheads="1"/>
          </p:cNvSpPr>
          <p:nvPr userDrawn="1"/>
        </p:nvSpPr>
        <p:spPr bwMode="gray">
          <a:xfrm>
            <a:off x="8605838" y="6594475"/>
            <a:ext cx="71437" cy="4429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>
              <a:defRPr/>
            </a:pPr>
            <a:r>
              <a:rPr lang="fr-FR" sz="800" b="1">
                <a:latin typeface="Arial" charset="0"/>
                <a:ea typeface="MS PGothic" pitchFamily="34" charset="-128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68" r:id="rId1"/>
    <p:sldLayoutId id="2147486167" r:id="rId2"/>
    <p:sldLayoutId id="2147486166" r:id="rId3"/>
    <p:sldLayoutId id="2147486165" r:id="rId4"/>
    <p:sldLayoutId id="2147486164" r:id="rId5"/>
    <p:sldLayoutId id="2147486163" r:id="rId6"/>
    <p:sldLayoutId id="2147486162" r:id="rId7"/>
    <p:sldLayoutId id="2147486161" r:id="rId8"/>
    <p:sldLayoutId id="2147486160" r:id="rId9"/>
    <p:sldLayoutId id="2147486159" r:id="rId10"/>
    <p:sldLayoutId id="2147486158" r:id="rId11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spcBef>
          <a:spcPct val="100000"/>
        </a:spcBef>
        <a:spcAft>
          <a:spcPct val="0"/>
        </a:spcAft>
        <a:buClr>
          <a:srgbClr val="666666"/>
        </a:buClr>
        <a:buFont typeface="Wingdings" pitchFamily="2" charset="2"/>
        <a:buChar char="§"/>
        <a:defRPr sz="1600" b="1">
          <a:solidFill>
            <a:srgbClr val="000000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spcBef>
          <a:spcPct val="50000"/>
        </a:spcBef>
        <a:spcAft>
          <a:spcPct val="0"/>
        </a:spcAft>
        <a:buChar char="•"/>
        <a:defRPr sz="1300">
          <a:solidFill>
            <a:srgbClr val="000000"/>
          </a:solidFill>
          <a:latin typeface="+mn-lt"/>
          <a:cs typeface="+mn-cs"/>
        </a:defRPr>
      </a:lvl2pPr>
      <a:lvl3pPr marL="542925" indent="-180975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▫"/>
        <a:defRPr sz="1100">
          <a:solidFill>
            <a:srgbClr val="000000"/>
          </a:solidFill>
          <a:latin typeface="+mn-lt"/>
          <a:cs typeface="+mn-cs"/>
        </a:defRPr>
      </a:lvl3pPr>
      <a:lvl4pPr marL="723900" indent="-17938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-"/>
        <a:defRPr sz="900">
          <a:solidFill>
            <a:srgbClr val="000000"/>
          </a:solidFill>
          <a:latin typeface="+mn-lt"/>
          <a:cs typeface="+mn-cs"/>
        </a:defRPr>
      </a:lvl4pPr>
      <a:lvl5pPr marL="885825" indent="-16033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5pPr>
      <a:lvl6pPr marL="13430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cs typeface="+mn-cs"/>
        </a:defRPr>
      </a:lvl6pPr>
      <a:lvl7pPr marL="18002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cs typeface="+mn-cs"/>
        </a:defRPr>
      </a:lvl7pPr>
      <a:lvl8pPr marL="22574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cs typeface="+mn-cs"/>
        </a:defRPr>
      </a:lvl8pPr>
      <a:lvl9pPr marL="27146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20" descr="group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gray">
          <a:xfrm>
            <a:off x="287338" y="6091238"/>
            <a:ext cx="3065462" cy="766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411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1125538"/>
            <a:ext cx="8029575" cy="57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1916113"/>
            <a:ext cx="8029575" cy="403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1035" name="Line 11"/>
          <p:cNvSpPr>
            <a:spLocks noChangeShapeType="1"/>
          </p:cNvSpPr>
          <p:nvPr/>
        </p:nvSpPr>
        <p:spPr bwMode="gray">
          <a:xfrm flipV="1">
            <a:off x="4572000" y="260350"/>
            <a:ext cx="0" cy="504825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ＭＳ Ｐゴシック" charset="0"/>
            </a:endParaRPr>
          </a:p>
        </p:txBody>
      </p:sp>
      <p:sp>
        <p:nvSpPr>
          <p:cNvPr id="1045" name="Rectangle 21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3838" y="6416675"/>
            <a:ext cx="1814512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36000" bIns="0" numCol="1" anchor="t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1046" name="Rectangle 22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b="1">
                <a:latin typeface="Arial" charset="0"/>
                <a:ea typeface="ＭＳ Ｐゴシック" charset="-128"/>
              </a:defRPr>
            </a:lvl1pPr>
          </a:lstStyle>
          <a:p>
            <a:pPr>
              <a:defRPr/>
            </a:pPr>
            <a:r>
              <a:rPr lang="fr-FR"/>
              <a:t>P.</a:t>
            </a:r>
            <a:fld id="{577BB909-A528-48E5-9F8B-37AA98346AD5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1047" name="Rectangle 23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771775" y="6416675"/>
            <a:ext cx="3597275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/>
            </a:lvl1pPr>
          </a:lstStyle>
          <a:p>
            <a:endParaRPr lang="fr-FR"/>
          </a:p>
        </p:txBody>
      </p:sp>
      <p:sp>
        <p:nvSpPr>
          <p:cNvPr id="1048" name="Rectangle 24"/>
          <p:cNvSpPr>
            <a:spLocks noChangeArrowheads="1"/>
          </p:cNvSpPr>
          <p:nvPr/>
        </p:nvSpPr>
        <p:spPr bwMode="gray">
          <a:xfrm>
            <a:off x="8426450" y="6415088"/>
            <a:ext cx="71438" cy="442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/>
          <a:lstStyle/>
          <a:p>
            <a:pPr>
              <a:defRPr/>
            </a:pPr>
            <a:r>
              <a:rPr lang="fr-FR" sz="800" b="1">
                <a:latin typeface="Arial" charset="0"/>
                <a:ea typeface="ＭＳ Ｐゴシック" charset="0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79" r:id="rId1"/>
    <p:sldLayoutId id="2147486178" r:id="rId2"/>
    <p:sldLayoutId id="2147486177" r:id="rId3"/>
    <p:sldLayoutId id="2147486176" r:id="rId4"/>
    <p:sldLayoutId id="2147486175" r:id="rId5"/>
    <p:sldLayoutId id="2147486174" r:id="rId6"/>
    <p:sldLayoutId id="2147486173" r:id="rId7"/>
    <p:sldLayoutId id="2147486172" r:id="rId8"/>
    <p:sldLayoutId id="2147486171" r:id="rId9"/>
    <p:sldLayoutId id="2147486170" r:id="rId10"/>
    <p:sldLayoutId id="2147486169" r:id="rId11"/>
  </p:sldLayoutIdLst>
  <p:hf sldNum="0" hdr="0" ftr="0"/>
  <p:txStyles>
    <p:titleStyle>
      <a:lvl1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+mj-lt"/>
          <a:ea typeface="ＭＳ Ｐゴシック" pitchFamily="34" charset="-128"/>
          <a:cs typeface="+mj-cs"/>
        </a:defRPr>
      </a:lvl1pPr>
      <a:lvl2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charset="0"/>
          <a:ea typeface="ＭＳ Ｐゴシック" pitchFamily="34" charset="-128"/>
          <a:cs typeface="Arial" charset="0"/>
        </a:defRPr>
      </a:lvl2pPr>
      <a:lvl3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charset="0"/>
          <a:ea typeface="ＭＳ Ｐゴシック" pitchFamily="34" charset="-128"/>
          <a:cs typeface="Arial" charset="0"/>
        </a:defRPr>
      </a:lvl3pPr>
      <a:lvl4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charset="0"/>
          <a:ea typeface="ＭＳ Ｐゴシック" pitchFamily="34" charset="-128"/>
          <a:cs typeface="Arial" charset="0"/>
        </a:defRPr>
      </a:lvl4pPr>
      <a:lvl5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charset="0"/>
          <a:ea typeface="ＭＳ Ｐゴシック" pitchFamily="34" charset="-128"/>
          <a:cs typeface="Arial" charset="0"/>
        </a:defRPr>
      </a:lvl5pPr>
      <a:lvl6pPr marL="4572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charset="0"/>
          <a:ea typeface="MS PGothic" pitchFamily="34" charset="-128"/>
          <a:cs typeface="Arial" charset="0"/>
        </a:defRPr>
      </a:lvl6pPr>
      <a:lvl7pPr marL="9144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charset="0"/>
          <a:ea typeface="MS PGothic" pitchFamily="34" charset="-128"/>
          <a:cs typeface="Arial" charset="0"/>
        </a:defRPr>
      </a:lvl7pPr>
      <a:lvl8pPr marL="13716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charset="0"/>
          <a:ea typeface="MS PGothic" pitchFamily="34" charset="-128"/>
          <a:cs typeface="Arial" charset="0"/>
        </a:defRPr>
      </a:lvl8pPr>
      <a:lvl9pPr marL="18288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charset="0"/>
          <a:ea typeface="MS PGothic" pitchFamily="34" charset="-128"/>
          <a:cs typeface="Arial" charset="0"/>
        </a:defRPr>
      </a:lvl9pPr>
    </p:titleStyle>
    <p:bodyStyle>
      <a:lvl1pPr marL="4763" indent="-4763" algn="l" rtl="0" eaLnBrk="0" fontAlgn="base" hangingPunct="0">
        <a:spcBef>
          <a:spcPct val="50000"/>
        </a:spcBef>
        <a:spcAft>
          <a:spcPct val="20000"/>
        </a:spcAft>
        <a:buFont typeface="Arial" pitchFamily="34" charset="0"/>
        <a:defRPr b="1">
          <a:solidFill>
            <a:srgbClr val="E60028"/>
          </a:solidFill>
          <a:latin typeface="+mn-lt"/>
          <a:ea typeface="ＭＳ Ｐゴシック" pitchFamily="34" charset="-128"/>
          <a:cs typeface="+mn-cs"/>
        </a:defRPr>
      </a:lvl1pPr>
      <a:lvl2pPr marL="12700" indent="-6350" algn="l" rtl="0" eaLnBrk="0" fontAlgn="base" hangingPunct="0">
        <a:spcBef>
          <a:spcPct val="0"/>
        </a:spcBef>
        <a:spcAft>
          <a:spcPct val="20000"/>
        </a:spcAft>
        <a:defRPr sz="1200" b="1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2pPr>
      <a:lvl3pPr marL="15875" indent="-1588" algn="l" rtl="0" eaLnBrk="0" fontAlgn="base" hangingPunct="0">
        <a:spcBef>
          <a:spcPct val="0"/>
        </a:spcBef>
        <a:spcAft>
          <a:spcPct val="20000"/>
        </a:spcAft>
        <a:buSzPct val="80000"/>
        <a:buFont typeface="Wingdings" pitchFamily="2" charset="2"/>
        <a:defRPr sz="1000" b="1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3pPr>
      <a:lvl4pPr marL="20638" indent="-3175" algn="l" rtl="0" eaLnBrk="0" fontAlgn="base" hangingPunct="0">
        <a:spcBef>
          <a:spcPct val="0"/>
        </a:spcBef>
        <a:spcAft>
          <a:spcPct val="40000"/>
        </a:spcAft>
        <a:defRPr sz="9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4pPr>
      <a:lvl5pPr marL="25400" indent="-3175" algn="l" rtl="0" eaLnBrk="0" fontAlgn="base" hangingPunct="0">
        <a:spcBef>
          <a:spcPct val="0"/>
        </a:spcBef>
        <a:spcAft>
          <a:spcPct val="20000"/>
        </a:spcAft>
        <a:buFont typeface="Arial" pitchFamily="34" charset="0"/>
        <a:defRPr sz="8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5pPr>
      <a:lvl6pPr marL="482600" indent="-3175" algn="l" rtl="0" fontAlgn="base">
        <a:spcBef>
          <a:spcPct val="0"/>
        </a:spcBef>
        <a:spcAft>
          <a:spcPct val="20000"/>
        </a:spcAft>
        <a:buFont typeface="Arial" charset="0"/>
        <a:defRPr sz="800">
          <a:solidFill>
            <a:srgbClr val="000000"/>
          </a:solidFill>
          <a:latin typeface="+mn-lt"/>
          <a:ea typeface="+mn-ea"/>
          <a:cs typeface="+mn-cs"/>
        </a:defRPr>
      </a:lvl6pPr>
      <a:lvl7pPr marL="939800" indent="-3175" algn="l" rtl="0" fontAlgn="base">
        <a:spcBef>
          <a:spcPct val="0"/>
        </a:spcBef>
        <a:spcAft>
          <a:spcPct val="20000"/>
        </a:spcAft>
        <a:buFont typeface="Arial" charset="0"/>
        <a:defRPr sz="800">
          <a:solidFill>
            <a:srgbClr val="000000"/>
          </a:solidFill>
          <a:latin typeface="+mn-lt"/>
          <a:ea typeface="+mn-ea"/>
          <a:cs typeface="+mn-cs"/>
        </a:defRPr>
      </a:lvl7pPr>
      <a:lvl8pPr marL="1397000" indent="-3175" algn="l" rtl="0" fontAlgn="base">
        <a:spcBef>
          <a:spcPct val="0"/>
        </a:spcBef>
        <a:spcAft>
          <a:spcPct val="20000"/>
        </a:spcAft>
        <a:buFont typeface="Arial" charset="0"/>
        <a:defRPr sz="800">
          <a:solidFill>
            <a:srgbClr val="000000"/>
          </a:solidFill>
          <a:latin typeface="+mn-lt"/>
          <a:ea typeface="+mn-ea"/>
          <a:cs typeface="+mn-cs"/>
        </a:defRPr>
      </a:lvl8pPr>
      <a:lvl9pPr marL="1854200" indent="-3175" algn="l" rtl="0" fontAlgn="base">
        <a:spcBef>
          <a:spcPct val="0"/>
        </a:spcBef>
        <a:spcAft>
          <a:spcPct val="20000"/>
        </a:spcAft>
        <a:buFont typeface="Arial" charset="0"/>
        <a:defRPr sz="8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 descr="group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gray">
          <a:xfrm>
            <a:off x="287338" y="6091238"/>
            <a:ext cx="3065462" cy="766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435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260350"/>
            <a:ext cx="7831137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18436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1052513"/>
            <a:ext cx="8029575" cy="489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728070" name="Rectangle 6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3838" y="6416675"/>
            <a:ext cx="181451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36000" bIns="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728071" name="Rectangle 7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b="1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fr-FR"/>
              <a:t>P.</a:t>
            </a:r>
            <a:fld id="{868711DD-957D-48A2-B67B-C4228AC2F91E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28072" name="Rectangle 8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771775" y="6416675"/>
            <a:ext cx="3597275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/>
            </a:lvl1pPr>
          </a:lstStyle>
          <a:p>
            <a:endParaRPr lang="fr-FR"/>
          </a:p>
        </p:txBody>
      </p:sp>
      <p:sp>
        <p:nvSpPr>
          <p:cNvPr id="235528" name="Line 10"/>
          <p:cNvSpPr>
            <a:spLocks noChangeShapeType="1"/>
          </p:cNvSpPr>
          <p:nvPr/>
        </p:nvSpPr>
        <p:spPr bwMode="gray">
          <a:xfrm flipH="1">
            <a:off x="323850" y="6194425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MS PGothic" pitchFamily="34" charset="-128"/>
            </a:endParaRPr>
          </a:p>
        </p:txBody>
      </p:sp>
      <p:sp>
        <p:nvSpPr>
          <p:cNvPr id="235529" name="Line 12"/>
          <p:cNvSpPr>
            <a:spLocks noChangeShapeType="1"/>
          </p:cNvSpPr>
          <p:nvPr/>
        </p:nvSpPr>
        <p:spPr bwMode="gray">
          <a:xfrm flipH="1">
            <a:off x="323850" y="755650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MS PGothic" pitchFamily="34" charset="-128"/>
            </a:endParaRPr>
          </a:p>
        </p:txBody>
      </p:sp>
      <p:sp>
        <p:nvSpPr>
          <p:cNvPr id="235530" name="Rectangle 13"/>
          <p:cNvSpPr>
            <a:spLocks noChangeArrowheads="1"/>
          </p:cNvSpPr>
          <p:nvPr/>
        </p:nvSpPr>
        <p:spPr bwMode="gray">
          <a:xfrm>
            <a:off x="8426450" y="6415088"/>
            <a:ext cx="71438" cy="4429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>
              <a:defRPr/>
            </a:pPr>
            <a:r>
              <a:rPr lang="fr-FR" sz="800" b="1">
                <a:latin typeface="Arial" charset="0"/>
                <a:ea typeface="MS PGothic" pitchFamily="34" charset="-128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90" r:id="rId1"/>
    <p:sldLayoutId id="2147486189" r:id="rId2"/>
    <p:sldLayoutId id="2147486188" r:id="rId3"/>
    <p:sldLayoutId id="2147486187" r:id="rId4"/>
    <p:sldLayoutId id="2147486186" r:id="rId5"/>
    <p:sldLayoutId id="2147486185" r:id="rId6"/>
    <p:sldLayoutId id="2147486184" r:id="rId7"/>
    <p:sldLayoutId id="2147486183" r:id="rId8"/>
    <p:sldLayoutId id="2147486182" r:id="rId9"/>
    <p:sldLayoutId id="2147486181" r:id="rId10"/>
    <p:sldLayoutId id="2147486180" r:id="rId11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spcBef>
          <a:spcPct val="100000"/>
        </a:spcBef>
        <a:spcAft>
          <a:spcPct val="0"/>
        </a:spcAft>
        <a:buClr>
          <a:srgbClr val="666666"/>
        </a:buClr>
        <a:buFont typeface="Wingdings" pitchFamily="2" charset="2"/>
        <a:buChar char="§"/>
        <a:defRPr sz="1600" b="1">
          <a:solidFill>
            <a:srgbClr val="000000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spcBef>
          <a:spcPct val="50000"/>
        </a:spcBef>
        <a:spcAft>
          <a:spcPct val="0"/>
        </a:spcAft>
        <a:buChar char="•"/>
        <a:defRPr sz="1300">
          <a:solidFill>
            <a:srgbClr val="000000"/>
          </a:solidFill>
          <a:latin typeface="+mn-lt"/>
          <a:cs typeface="+mn-cs"/>
        </a:defRPr>
      </a:lvl2pPr>
      <a:lvl3pPr marL="542925" indent="-180975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▫"/>
        <a:defRPr sz="1100">
          <a:solidFill>
            <a:srgbClr val="000000"/>
          </a:solidFill>
          <a:latin typeface="+mn-lt"/>
          <a:cs typeface="+mn-cs"/>
        </a:defRPr>
      </a:lvl3pPr>
      <a:lvl4pPr marL="723900" indent="-17938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-"/>
        <a:defRPr sz="900">
          <a:solidFill>
            <a:srgbClr val="000000"/>
          </a:solidFill>
          <a:latin typeface="+mn-lt"/>
          <a:cs typeface="+mn-cs"/>
        </a:defRPr>
      </a:lvl4pPr>
      <a:lvl5pPr marL="885825" indent="-16033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5pPr>
      <a:lvl6pPr marL="13430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cs typeface="+mn-cs"/>
        </a:defRPr>
      </a:lvl6pPr>
      <a:lvl7pPr marL="18002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cs typeface="+mn-cs"/>
        </a:defRPr>
      </a:lvl7pPr>
      <a:lvl8pPr marL="22574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cs typeface="+mn-cs"/>
        </a:defRPr>
      </a:lvl8pPr>
      <a:lvl9pPr marL="27146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2" descr="group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gray">
          <a:xfrm>
            <a:off x="287338" y="6091238"/>
            <a:ext cx="3065462" cy="766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5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260350"/>
            <a:ext cx="7831137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19460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1052513"/>
            <a:ext cx="8029575" cy="489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728070" name="Rectangle 6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3838" y="6416675"/>
            <a:ext cx="1814512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36000" bIns="0" numCol="1" anchor="t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728071" name="Rectangle 7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b="1">
                <a:latin typeface="Arial" charset="0"/>
                <a:ea typeface="ＭＳ Ｐゴシック" charset="-128"/>
              </a:defRPr>
            </a:lvl1pPr>
          </a:lstStyle>
          <a:p>
            <a:pPr>
              <a:defRPr/>
            </a:pPr>
            <a:r>
              <a:rPr lang="fr-FR"/>
              <a:t>P.</a:t>
            </a:r>
            <a:fld id="{2997DDFE-55C0-40C3-8203-EB6D03513D1A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28072" name="Rectangle 8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771775" y="6416675"/>
            <a:ext cx="3597275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/>
            </a:lvl1pPr>
          </a:lstStyle>
          <a:p>
            <a:endParaRPr lang="fr-FR"/>
          </a:p>
        </p:txBody>
      </p:sp>
      <p:sp>
        <p:nvSpPr>
          <p:cNvPr id="728074" name="Line 10"/>
          <p:cNvSpPr>
            <a:spLocks noChangeShapeType="1"/>
          </p:cNvSpPr>
          <p:nvPr/>
        </p:nvSpPr>
        <p:spPr bwMode="gray">
          <a:xfrm flipH="1">
            <a:off x="323850" y="6194425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ＭＳ Ｐゴシック" charset="0"/>
            </a:endParaRPr>
          </a:p>
        </p:txBody>
      </p:sp>
      <p:sp>
        <p:nvSpPr>
          <p:cNvPr id="728076" name="Line 12"/>
          <p:cNvSpPr>
            <a:spLocks noChangeShapeType="1"/>
          </p:cNvSpPr>
          <p:nvPr/>
        </p:nvSpPr>
        <p:spPr bwMode="gray">
          <a:xfrm flipH="1">
            <a:off x="323850" y="755650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ＭＳ Ｐゴシック" charset="0"/>
            </a:endParaRPr>
          </a:p>
        </p:txBody>
      </p:sp>
      <p:sp>
        <p:nvSpPr>
          <p:cNvPr id="728077" name="Rectangle 13"/>
          <p:cNvSpPr>
            <a:spLocks noChangeArrowheads="1"/>
          </p:cNvSpPr>
          <p:nvPr/>
        </p:nvSpPr>
        <p:spPr bwMode="gray">
          <a:xfrm>
            <a:off x="8426450" y="6415088"/>
            <a:ext cx="71438" cy="442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/>
          <a:lstStyle/>
          <a:p>
            <a:pPr>
              <a:defRPr/>
            </a:pPr>
            <a:r>
              <a:rPr lang="fr-FR" sz="800" b="1">
                <a:latin typeface="Arial" charset="0"/>
                <a:ea typeface="ＭＳ Ｐゴシック" charset="0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201" r:id="rId1"/>
    <p:sldLayoutId id="2147486200" r:id="rId2"/>
    <p:sldLayoutId id="2147486199" r:id="rId3"/>
    <p:sldLayoutId id="2147486198" r:id="rId4"/>
    <p:sldLayoutId id="2147486197" r:id="rId5"/>
    <p:sldLayoutId id="2147486196" r:id="rId6"/>
    <p:sldLayoutId id="2147486195" r:id="rId7"/>
    <p:sldLayoutId id="2147486194" r:id="rId8"/>
    <p:sldLayoutId id="2147486193" r:id="rId9"/>
    <p:sldLayoutId id="2147486192" r:id="rId10"/>
    <p:sldLayoutId id="2147486191" r:id="rId11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+mj-lt"/>
          <a:ea typeface="ＭＳ Ｐゴシック" pitchFamily="34" charset="-128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MS PGothic" pitchFamily="34" charset="-128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MS PGothic" pitchFamily="34" charset="-128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MS PGothic" pitchFamily="34" charset="-128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MS PGothic" pitchFamily="34" charset="-128"/>
          <a:cs typeface="Arial" charset="0"/>
        </a:defRPr>
      </a:lvl9pPr>
    </p:titleStyle>
    <p:bodyStyle>
      <a:lvl1pPr marL="180975" indent="-180975" algn="l" rtl="0" eaLnBrk="0" fontAlgn="base" hangingPunct="0">
        <a:spcBef>
          <a:spcPct val="100000"/>
        </a:spcBef>
        <a:spcAft>
          <a:spcPct val="0"/>
        </a:spcAft>
        <a:buClr>
          <a:srgbClr val="666666"/>
        </a:buClr>
        <a:buFont typeface="Wingdings" pitchFamily="2" charset="2"/>
        <a:buChar char="§"/>
        <a:defRPr sz="1600" b="1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1pPr>
      <a:lvl2pPr marL="360363" indent="-177800" algn="l" rtl="0" eaLnBrk="0" fontAlgn="base" hangingPunct="0">
        <a:spcBef>
          <a:spcPct val="50000"/>
        </a:spcBef>
        <a:spcAft>
          <a:spcPct val="0"/>
        </a:spcAft>
        <a:buChar char="•"/>
        <a:defRPr sz="13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2pPr>
      <a:lvl3pPr marL="542925" indent="-180975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▫"/>
        <a:defRPr sz="11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3pPr>
      <a:lvl4pPr marL="723900" indent="-17938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-"/>
        <a:defRPr sz="9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4pPr>
      <a:lvl5pPr marL="885825" indent="-16033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5pPr>
      <a:lvl6pPr marL="13430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6pPr>
      <a:lvl7pPr marL="18002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7pPr>
      <a:lvl8pPr marL="22574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8pPr>
      <a:lvl9pPr marL="27146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2" descr="group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gray">
          <a:xfrm>
            <a:off x="287338" y="6091238"/>
            <a:ext cx="3065462" cy="766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483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260350"/>
            <a:ext cx="7831137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20484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1052513"/>
            <a:ext cx="8029575" cy="489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728070" name="Rectangle 6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3838" y="6416675"/>
            <a:ext cx="1814512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36000" bIns="0" numCol="1" anchor="t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728071" name="Rectangle 7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b="1">
                <a:latin typeface="Arial" charset="0"/>
                <a:ea typeface="ＭＳ Ｐゴシック" charset="-128"/>
              </a:defRPr>
            </a:lvl1pPr>
          </a:lstStyle>
          <a:p>
            <a:pPr>
              <a:defRPr/>
            </a:pPr>
            <a:r>
              <a:rPr lang="fr-FR"/>
              <a:t>P.</a:t>
            </a:r>
            <a:fld id="{262ADDD7-EDDD-47E9-A03D-F169AB2381A1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28072" name="Rectangle 8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771775" y="6416675"/>
            <a:ext cx="3597275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/>
            </a:lvl1pPr>
          </a:lstStyle>
          <a:p>
            <a:endParaRPr lang="fr-FR"/>
          </a:p>
        </p:txBody>
      </p:sp>
      <p:sp>
        <p:nvSpPr>
          <p:cNvPr id="728074" name="Line 10"/>
          <p:cNvSpPr>
            <a:spLocks noChangeShapeType="1"/>
          </p:cNvSpPr>
          <p:nvPr/>
        </p:nvSpPr>
        <p:spPr bwMode="gray">
          <a:xfrm flipH="1">
            <a:off x="323850" y="6194425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ＭＳ Ｐゴシック" charset="0"/>
            </a:endParaRPr>
          </a:p>
        </p:txBody>
      </p:sp>
      <p:sp>
        <p:nvSpPr>
          <p:cNvPr id="728076" name="Line 12"/>
          <p:cNvSpPr>
            <a:spLocks noChangeShapeType="1"/>
          </p:cNvSpPr>
          <p:nvPr/>
        </p:nvSpPr>
        <p:spPr bwMode="gray">
          <a:xfrm flipH="1">
            <a:off x="323850" y="755650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ＭＳ Ｐゴシック" charset="0"/>
            </a:endParaRPr>
          </a:p>
        </p:txBody>
      </p:sp>
      <p:sp>
        <p:nvSpPr>
          <p:cNvPr id="728077" name="Rectangle 13"/>
          <p:cNvSpPr>
            <a:spLocks noChangeArrowheads="1"/>
          </p:cNvSpPr>
          <p:nvPr/>
        </p:nvSpPr>
        <p:spPr bwMode="gray">
          <a:xfrm>
            <a:off x="8426450" y="6415088"/>
            <a:ext cx="71438" cy="442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/>
          <a:lstStyle/>
          <a:p>
            <a:pPr>
              <a:defRPr/>
            </a:pPr>
            <a:r>
              <a:rPr lang="fr-FR" sz="800" b="1">
                <a:latin typeface="Arial" charset="0"/>
                <a:ea typeface="ＭＳ Ｐゴシック" charset="0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212" r:id="rId1"/>
    <p:sldLayoutId id="2147486211" r:id="rId2"/>
    <p:sldLayoutId id="2147486210" r:id="rId3"/>
    <p:sldLayoutId id="2147486209" r:id="rId4"/>
    <p:sldLayoutId id="2147486208" r:id="rId5"/>
    <p:sldLayoutId id="2147486207" r:id="rId6"/>
    <p:sldLayoutId id="2147486206" r:id="rId7"/>
    <p:sldLayoutId id="2147486205" r:id="rId8"/>
    <p:sldLayoutId id="2147486204" r:id="rId9"/>
    <p:sldLayoutId id="2147486203" r:id="rId10"/>
    <p:sldLayoutId id="2147486202" r:id="rId11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+mj-lt"/>
          <a:ea typeface="ＭＳ Ｐゴシック" pitchFamily="34" charset="-128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MS PGothic" pitchFamily="34" charset="-128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MS PGothic" pitchFamily="34" charset="-128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MS PGothic" pitchFamily="34" charset="-128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MS PGothic" pitchFamily="34" charset="-128"/>
          <a:cs typeface="Arial" charset="0"/>
        </a:defRPr>
      </a:lvl9pPr>
    </p:titleStyle>
    <p:bodyStyle>
      <a:lvl1pPr marL="180975" indent="-180975" algn="l" rtl="0" eaLnBrk="0" fontAlgn="base" hangingPunct="0">
        <a:spcBef>
          <a:spcPct val="100000"/>
        </a:spcBef>
        <a:spcAft>
          <a:spcPct val="0"/>
        </a:spcAft>
        <a:buClr>
          <a:srgbClr val="666666"/>
        </a:buClr>
        <a:buFont typeface="Wingdings" pitchFamily="2" charset="2"/>
        <a:buChar char="§"/>
        <a:defRPr sz="1600" b="1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1pPr>
      <a:lvl2pPr marL="360363" indent="-177800" algn="l" rtl="0" eaLnBrk="0" fontAlgn="base" hangingPunct="0">
        <a:spcBef>
          <a:spcPct val="50000"/>
        </a:spcBef>
        <a:spcAft>
          <a:spcPct val="0"/>
        </a:spcAft>
        <a:buChar char="•"/>
        <a:defRPr sz="13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2pPr>
      <a:lvl3pPr marL="542925" indent="-180975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▫"/>
        <a:defRPr sz="11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3pPr>
      <a:lvl4pPr marL="723900" indent="-17938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-"/>
        <a:defRPr sz="9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4pPr>
      <a:lvl5pPr marL="885825" indent="-16033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5pPr>
      <a:lvl6pPr marL="13430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6pPr>
      <a:lvl7pPr marL="18002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7pPr>
      <a:lvl8pPr marL="22574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8pPr>
      <a:lvl9pPr marL="27146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260350"/>
            <a:ext cx="7831137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21507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908050"/>
            <a:ext cx="8029575" cy="4897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1010697" name="Line 9"/>
          <p:cNvSpPr>
            <a:spLocks noChangeShapeType="1"/>
          </p:cNvSpPr>
          <p:nvPr/>
        </p:nvSpPr>
        <p:spPr bwMode="gray">
          <a:xfrm flipH="1">
            <a:off x="323850" y="755650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+mn-ea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223" r:id="rId1"/>
    <p:sldLayoutId id="2147486222" r:id="rId2"/>
    <p:sldLayoutId id="2147486221" r:id="rId3"/>
    <p:sldLayoutId id="2147486220" r:id="rId4"/>
    <p:sldLayoutId id="2147486219" r:id="rId5"/>
    <p:sldLayoutId id="2147486218" r:id="rId6"/>
    <p:sldLayoutId id="2147486217" r:id="rId7"/>
    <p:sldLayoutId id="2147486216" r:id="rId8"/>
    <p:sldLayoutId id="2147486215" r:id="rId9"/>
    <p:sldLayoutId id="2147486214" r:id="rId10"/>
    <p:sldLayoutId id="2147486213" r:id="rId11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spcBef>
          <a:spcPct val="100000"/>
        </a:spcBef>
        <a:spcAft>
          <a:spcPct val="0"/>
        </a:spcAft>
        <a:buClr>
          <a:srgbClr val="666666"/>
        </a:buClr>
        <a:buFont typeface="Wingdings" pitchFamily="2" charset="2"/>
        <a:buChar char="§"/>
        <a:defRPr sz="1600" b="1">
          <a:solidFill>
            <a:srgbClr val="000000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spcBef>
          <a:spcPct val="50000"/>
        </a:spcBef>
        <a:spcAft>
          <a:spcPct val="0"/>
        </a:spcAft>
        <a:buChar char="•"/>
        <a:defRPr sz="1300">
          <a:solidFill>
            <a:srgbClr val="000000"/>
          </a:solidFill>
          <a:latin typeface="+mn-lt"/>
          <a:cs typeface="+mn-cs"/>
        </a:defRPr>
      </a:lvl2pPr>
      <a:lvl3pPr marL="542925" indent="-180975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▫"/>
        <a:defRPr sz="1100">
          <a:solidFill>
            <a:srgbClr val="000000"/>
          </a:solidFill>
          <a:latin typeface="+mn-lt"/>
          <a:cs typeface="+mn-cs"/>
        </a:defRPr>
      </a:lvl3pPr>
      <a:lvl4pPr marL="723900" indent="-17938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-"/>
        <a:defRPr sz="900">
          <a:solidFill>
            <a:srgbClr val="000000"/>
          </a:solidFill>
          <a:latin typeface="+mn-lt"/>
          <a:cs typeface="+mn-cs"/>
        </a:defRPr>
      </a:lvl4pPr>
      <a:lvl5pPr marL="885825" indent="-16033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5pPr>
      <a:lvl6pPr marL="13430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cs typeface="+mn-cs"/>
        </a:defRPr>
      </a:lvl6pPr>
      <a:lvl7pPr marL="18002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cs typeface="+mn-cs"/>
        </a:defRPr>
      </a:lvl7pPr>
      <a:lvl8pPr marL="22574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cs typeface="+mn-cs"/>
        </a:defRPr>
      </a:lvl8pPr>
      <a:lvl9pPr marL="27146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260350"/>
            <a:ext cx="7831137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22531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908050"/>
            <a:ext cx="8029575" cy="4897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10244" name="Line 9"/>
          <p:cNvSpPr>
            <a:spLocks noChangeShapeType="1"/>
          </p:cNvSpPr>
          <p:nvPr/>
        </p:nvSpPr>
        <p:spPr bwMode="gray">
          <a:xfrm flipH="1">
            <a:off x="323850" y="755650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ＭＳ Ｐゴシック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234" r:id="rId1"/>
    <p:sldLayoutId id="2147486233" r:id="rId2"/>
    <p:sldLayoutId id="2147486232" r:id="rId3"/>
    <p:sldLayoutId id="2147486231" r:id="rId4"/>
    <p:sldLayoutId id="2147486230" r:id="rId5"/>
    <p:sldLayoutId id="2147486229" r:id="rId6"/>
    <p:sldLayoutId id="2147486228" r:id="rId7"/>
    <p:sldLayoutId id="2147486227" r:id="rId8"/>
    <p:sldLayoutId id="2147486226" r:id="rId9"/>
    <p:sldLayoutId id="2147486225" r:id="rId10"/>
    <p:sldLayoutId id="2147486224" r:id="rId11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+mj-lt"/>
          <a:ea typeface="ＭＳ Ｐゴシック" pitchFamily="34" charset="-128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MS PGothic" pitchFamily="34" charset="-128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MS PGothic" pitchFamily="34" charset="-128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MS PGothic" pitchFamily="34" charset="-128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MS PGothic" pitchFamily="34" charset="-128"/>
          <a:cs typeface="Arial" charset="0"/>
        </a:defRPr>
      </a:lvl9pPr>
    </p:titleStyle>
    <p:bodyStyle>
      <a:lvl1pPr marL="180975" indent="-180975" algn="l" rtl="0" eaLnBrk="0" fontAlgn="base" hangingPunct="0">
        <a:spcBef>
          <a:spcPct val="100000"/>
        </a:spcBef>
        <a:spcAft>
          <a:spcPct val="0"/>
        </a:spcAft>
        <a:buClr>
          <a:srgbClr val="666666"/>
        </a:buClr>
        <a:buFont typeface="Wingdings" pitchFamily="2" charset="2"/>
        <a:buChar char="§"/>
        <a:defRPr sz="1600" b="1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1pPr>
      <a:lvl2pPr marL="360363" indent="-177800" algn="l" rtl="0" eaLnBrk="0" fontAlgn="base" hangingPunct="0">
        <a:spcBef>
          <a:spcPct val="50000"/>
        </a:spcBef>
        <a:spcAft>
          <a:spcPct val="0"/>
        </a:spcAft>
        <a:buChar char="•"/>
        <a:defRPr sz="13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2pPr>
      <a:lvl3pPr marL="542925" indent="-180975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▫"/>
        <a:defRPr sz="11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3pPr>
      <a:lvl4pPr marL="723900" indent="-17938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-"/>
        <a:defRPr sz="9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4pPr>
      <a:lvl5pPr marL="885825" indent="-16033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5pPr>
      <a:lvl6pPr marL="13430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6pPr>
      <a:lvl7pPr marL="18002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7pPr>
      <a:lvl8pPr marL="22574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8pPr>
      <a:lvl9pPr marL="27146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2" descr="group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gray">
          <a:xfrm>
            <a:off x="287338" y="6091238"/>
            <a:ext cx="3065462" cy="766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555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260350"/>
            <a:ext cx="7831137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23556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1052513"/>
            <a:ext cx="8029575" cy="489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280581" name="Rectangle 5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3838" y="6416675"/>
            <a:ext cx="181451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36000" bIns="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latin typeface="Arial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280582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b="1">
                <a:latin typeface="Arial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fr-FR"/>
              <a:t>P.</a:t>
            </a:r>
            <a:fld id="{FB364727-866A-4155-A456-AE35D9E0E38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280583" name="Rectangle 7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771775" y="6416675"/>
            <a:ext cx="3597275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/>
            </a:lvl1pPr>
          </a:lstStyle>
          <a:p>
            <a:endParaRPr lang="fr-FR"/>
          </a:p>
        </p:txBody>
      </p:sp>
      <p:sp>
        <p:nvSpPr>
          <p:cNvPr id="280584" name="Line 8"/>
          <p:cNvSpPr>
            <a:spLocks noChangeShapeType="1"/>
          </p:cNvSpPr>
          <p:nvPr/>
        </p:nvSpPr>
        <p:spPr bwMode="gray">
          <a:xfrm flipH="1">
            <a:off x="323850" y="6194425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MS PGothic" pitchFamily="34" charset="-128"/>
            </a:endParaRPr>
          </a:p>
        </p:txBody>
      </p:sp>
      <p:sp>
        <p:nvSpPr>
          <p:cNvPr id="280585" name="Line 9"/>
          <p:cNvSpPr>
            <a:spLocks noChangeShapeType="1"/>
          </p:cNvSpPr>
          <p:nvPr/>
        </p:nvSpPr>
        <p:spPr bwMode="gray">
          <a:xfrm flipH="1">
            <a:off x="323850" y="755650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MS PGothic" pitchFamily="34" charset="-128"/>
            </a:endParaRPr>
          </a:p>
        </p:txBody>
      </p:sp>
      <p:sp>
        <p:nvSpPr>
          <p:cNvPr id="280586" name="Rectangle 10"/>
          <p:cNvSpPr>
            <a:spLocks noChangeArrowheads="1"/>
          </p:cNvSpPr>
          <p:nvPr/>
        </p:nvSpPr>
        <p:spPr bwMode="gray">
          <a:xfrm>
            <a:off x="8426450" y="6415088"/>
            <a:ext cx="71438" cy="4429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>
              <a:defRPr/>
            </a:pPr>
            <a:r>
              <a:rPr lang="fr-FR" sz="800" b="1">
                <a:latin typeface="Arial" charset="0"/>
                <a:ea typeface="MS PGothic" pitchFamily="34" charset="-128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421" r:id="rId1"/>
    <p:sldLayoutId id="2147486244" r:id="rId2"/>
    <p:sldLayoutId id="2147486243" r:id="rId3"/>
    <p:sldLayoutId id="2147486242" r:id="rId4"/>
    <p:sldLayoutId id="2147486241" r:id="rId5"/>
    <p:sldLayoutId id="2147486240" r:id="rId6"/>
    <p:sldLayoutId id="2147486239" r:id="rId7"/>
    <p:sldLayoutId id="2147486238" r:id="rId8"/>
    <p:sldLayoutId id="2147486237" r:id="rId9"/>
    <p:sldLayoutId id="2147486236" r:id="rId10"/>
    <p:sldLayoutId id="2147486235" r:id="rId11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spcBef>
          <a:spcPct val="100000"/>
        </a:spcBef>
        <a:spcAft>
          <a:spcPct val="0"/>
        </a:spcAft>
        <a:buClr>
          <a:srgbClr val="666666"/>
        </a:buClr>
        <a:buFont typeface="Wingdings" pitchFamily="2" charset="2"/>
        <a:buChar char="§"/>
        <a:defRPr sz="1600" b="1">
          <a:solidFill>
            <a:srgbClr val="000000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spcBef>
          <a:spcPct val="50000"/>
        </a:spcBef>
        <a:spcAft>
          <a:spcPct val="0"/>
        </a:spcAft>
        <a:buChar char="•"/>
        <a:defRPr sz="1300">
          <a:solidFill>
            <a:srgbClr val="000000"/>
          </a:solidFill>
          <a:latin typeface="+mn-lt"/>
          <a:cs typeface="+mn-cs"/>
        </a:defRPr>
      </a:lvl2pPr>
      <a:lvl3pPr marL="542925" indent="-180975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▫"/>
        <a:defRPr sz="1100">
          <a:solidFill>
            <a:srgbClr val="000000"/>
          </a:solidFill>
          <a:latin typeface="+mn-lt"/>
          <a:cs typeface="+mn-cs"/>
        </a:defRPr>
      </a:lvl3pPr>
      <a:lvl4pPr marL="723900" indent="-17938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-"/>
        <a:defRPr sz="900">
          <a:solidFill>
            <a:srgbClr val="000000"/>
          </a:solidFill>
          <a:latin typeface="+mn-lt"/>
          <a:cs typeface="+mn-cs"/>
        </a:defRPr>
      </a:lvl4pPr>
      <a:lvl5pPr marL="885825" indent="-16033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5pPr>
      <a:lvl6pPr marL="13430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cs typeface="+mn-cs"/>
        </a:defRPr>
      </a:lvl6pPr>
      <a:lvl7pPr marL="18002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cs typeface="+mn-cs"/>
        </a:defRPr>
      </a:lvl7pPr>
      <a:lvl8pPr marL="22574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cs typeface="+mn-cs"/>
        </a:defRPr>
      </a:lvl8pPr>
      <a:lvl9pPr marL="27146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2" descr="group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gray">
          <a:xfrm>
            <a:off x="287338" y="6091238"/>
            <a:ext cx="3065462" cy="766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57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260350"/>
            <a:ext cx="7831137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24580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1052513"/>
            <a:ext cx="8029575" cy="489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299013" name="Rectangle 5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3838" y="6416675"/>
            <a:ext cx="181451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36000" bIns="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latin typeface="Arial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299014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b="1">
                <a:latin typeface="Arial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fr-FR"/>
              <a:t>P.</a:t>
            </a:r>
            <a:fld id="{5702AD1F-BB0A-4C1A-9C7B-168C6D9F6321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299015" name="Rectangle 7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771775" y="6416675"/>
            <a:ext cx="3597275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/>
            </a:lvl1pPr>
          </a:lstStyle>
          <a:p>
            <a:endParaRPr lang="fr-FR"/>
          </a:p>
        </p:txBody>
      </p:sp>
      <p:sp>
        <p:nvSpPr>
          <p:cNvPr id="299016" name="Line 8"/>
          <p:cNvSpPr>
            <a:spLocks noChangeShapeType="1"/>
          </p:cNvSpPr>
          <p:nvPr/>
        </p:nvSpPr>
        <p:spPr bwMode="gray">
          <a:xfrm flipH="1">
            <a:off x="323850" y="6194425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MS PGothic" pitchFamily="34" charset="-128"/>
            </a:endParaRPr>
          </a:p>
        </p:txBody>
      </p:sp>
      <p:sp>
        <p:nvSpPr>
          <p:cNvPr id="299017" name="Line 9"/>
          <p:cNvSpPr>
            <a:spLocks noChangeShapeType="1"/>
          </p:cNvSpPr>
          <p:nvPr/>
        </p:nvSpPr>
        <p:spPr bwMode="gray">
          <a:xfrm flipH="1">
            <a:off x="323850" y="755650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MS PGothic" pitchFamily="34" charset="-128"/>
            </a:endParaRPr>
          </a:p>
        </p:txBody>
      </p:sp>
      <p:sp>
        <p:nvSpPr>
          <p:cNvPr id="299018" name="Rectangle 10"/>
          <p:cNvSpPr>
            <a:spLocks noChangeArrowheads="1"/>
          </p:cNvSpPr>
          <p:nvPr/>
        </p:nvSpPr>
        <p:spPr bwMode="gray">
          <a:xfrm>
            <a:off x="8426450" y="6415088"/>
            <a:ext cx="71438" cy="4429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>
              <a:defRPr/>
            </a:pPr>
            <a:r>
              <a:rPr lang="fr-FR" sz="800" b="1">
                <a:latin typeface="Arial" charset="0"/>
                <a:ea typeface="MS PGothic" pitchFamily="34" charset="-128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422" r:id="rId1"/>
    <p:sldLayoutId id="2147486254" r:id="rId2"/>
    <p:sldLayoutId id="2147486253" r:id="rId3"/>
    <p:sldLayoutId id="2147486252" r:id="rId4"/>
    <p:sldLayoutId id="2147486251" r:id="rId5"/>
    <p:sldLayoutId id="2147486250" r:id="rId6"/>
    <p:sldLayoutId id="2147486249" r:id="rId7"/>
    <p:sldLayoutId id="2147486248" r:id="rId8"/>
    <p:sldLayoutId id="2147486247" r:id="rId9"/>
    <p:sldLayoutId id="2147486246" r:id="rId10"/>
    <p:sldLayoutId id="2147486245" r:id="rId11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spcBef>
          <a:spcPct val="100000"/>
        </a:spcBef>
        <a:spcAft>
          <a:spcPct val="0"/>
        </a:spcAft>
        <a:buClr>
          <a:srgbClr val="666666"/>
        </a:buClr>
        <a:buFont typeface="Wingdings" pitchFamily="2" charset="2"/>
        <a:buChar char="§"/>
        <a:defRPr sz="1600" b="1">
          <a:solidFill>
            <a:srgbClr val="000000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spcBef>
          <a:spcPct val="50000"/>
        </a:spcBef>
        <a:spcAft>
          <a:spcPct val="0"/>
        </a:spcAft>
        <a:buChar char="•"/>
        <a:defRPr sz="1300">
          <a:solidFill>
            <a:srgbClr val="000000"/>
          </a:solidFill>
          <a:latin typeface="+mn-lt"/>
          <a:cs typeface="+mn-cs"/>
        </a:defRPr>
      </a:lvl2pPr>
      <a:lvl3pPr marL="542925" indent="-180975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▫"/>
        <a:defRPr sz="1100">
          <a:solidFill>
            <a:srgbClr val="000000"/>
          </a:solidFill>
          <a:latin typeface="+mn-lt"/>
          <a:cs typeface="+mn-cs"/>
        </a:defRPr>
      </a:lvl3pPr>
      <a:lvl4pPr marL="723900" indent="-17938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-"/>
        <a:defRPr sz="900">
          <a:solidFill>
            <a:srgbClr val="000000"/>
          </a:solidFill>
          <a:latin typeface="+mn-lt"/>
          <a:cs typeface="+mn-cs"/>
        </a:defRPr>
      </a:lvl4pPr>
      <a:lvl5pPr marL="885825" indent="-16033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5pPr>
      <a:lvl6pPr marL="13430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cs typeface="+mn-cs"/>
        </a:defRPr>
      </a:lvl6pPr>
      <a:lvl7pPr marL="18002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cs typeface="+mn-cs"/>
        </a:defRPr>
      </a:lvl7pPr>
      <a:lvl8pPr marL="22574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cs typeface="+mn-cs"/>
        </a:defRPr>
      </a:lvl8pPr>
      <a:lvl9pPr marL="27146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2" name="Picture 2" descr="group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gray">
          <a:xfrm>
            <a:off x="287338" y="6091238"/>
            <a:ext cx="3065462" cy="766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4851" name="Line 10"/>
          <p:cNvSpPr>
            <a:spLocks noChangeShapeType="1"/>
          </p:cNvSpPr>
          <p:nvPr/>
        </p:nvSpPr>
        <p:spPr bwMode="gray">
          <a:xfrm flipH="1">
            <a:off x="323850" y="6194425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MS PGothic" pitchFamily="34" charset="-128"/>
            </a:endParaRPr>
          </a:p>
        </p:txBody>
      </p:sp>
      <p:sp>
        <p:nvSpPr>
          <p:cNvPr id="334852" name="Line 12"/>
          <p:cNvSpPr>
            <a:spLocks noChangeShapeType="1"/>
          </p:cNvSpPr>
          <p:nvPr/>
        </p:nvSpPr>
        <p:spPr bwMode="gray">
          <a:xfrm flipH="1">
            <a:off x="323850" y="755650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MS PGothic" pitchFamily="34" charset="-128"/>
            </a:endParaRPr>
          </a:p>
        </p:txBody>
      </p:sp>
      <p:sp>
        <p:nvSpPr>
          <p:cNvPr id="334853" name="Rectangle 13"/>
          <p:cNvSpPr>
            <a:spLocks noChangeArrowheads="1"/>
          </p:cNvSpPr>
          <p:nvPr/>
        </p:nvSpPr>
        <p:spPr bwMode="gray">
          <a:xfrm>
            <a:off x="8426450" y="6415088"/>
            <a:ext cx="71438" cy="4429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>
              <a:defRPr/>
            </a:pPr>
            <a:r>
              <a:rPr lang="fr-FR" sz="800" b="1">
                <a:latin typeface="Arial" charset="0"/>
                <a:ea typeface="MS PGothic" pitchFamily="34" charset="-128"/>
              </a:rPr>
              <a:t>|</a:t>
            </a:r>
          </a:p>
        </p:txBody>
      </p:sp>
      <p:sp>
        <p:nvSpPr>
          <p:cNvPr id="25606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260350"/>
            <a:ext cx="7831137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25607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1052513"/>
            <a:ext cx="8029575" cy="489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3838" y="6416675"/>
            <a:ext cx="1814512" cy="44132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36000" bIns="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12" name="Rectangle 7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459788" y="6416675"/>
            <a:ext cx="360362" cy="44132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b="1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fr-FR"/>
              <a:t>P.</a:t>
            </a:r>
            <a:fld id="{0530BBD3-B4DF-4F08-AD51-15BE394769A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13" name="Rectangle 8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771775" y="6416675"/>
            <a:ext cx="3597275" cy="44132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/>
            </a:lvl1pPr>
          </a:lstStyle>
          <a:p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265" r:id="rId1"/>
    <p:sldLayoutId id="2147486264" r:id="rId2"/>
    <p:sldLayoutId id="2147486263" r:id="rId3"/>
    <p:sldLayoutId id="2147486262" r:id="rId4"/>
    <p:sldLayoutId id="2147486261" r:id="rId5"/>
    <p:sldLayoutId id="2147486260" r:id="rId6"/>
    <p:sldLayoutId id="2147486259" r:id="rId7"/>
    <p:sldLayoutId id="2147486258" r:id="rId8"/>
    <p:sldLayoutId id="2147486257" r:id="rId9"/>
    <p:sldLayoutId id="2147486256" r:id="rId10"/>
    <p:sldLayoutId id="2147486255" r:id="rId11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spcBef>
          <a:spcPct val="100000"/>
        </a:spcBef>
        <a:spcAft>
          <a:spcPct val="0"/>
        </a:spcAft>
        <a:buClr>
          <a:srgbClr val="666666"/>
        </a:buClr>
        <a:buFont typeface="Wingdings" pitchFamily="2" charset="2"/>
        <a:buChar char="§"/>
        <a:defRPr sz="1600" b="1">
          <a:solidFill>
            <a:srgbClr val="000000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spcBef>
          <a:spcPct val="50000"/>
        </a:spcBef>
        <a:spcAft>
          <a:spcPct val="0"/>
        </a:spcAft>
        <a:buChar char="•"/>
        <a:defRPr sz="1300">
          <a:solidFill>
            <a:srgbClr val="000000"/>
          </a:solidFill>
          <a:latin typeface="+mn-lt"/>
          <a:cs typeface="+mn-cs"/>
        </a:defRPr>
      </a:lvl2pPr>
      <a:lvl3pPr marL="542925" indent="-180975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▫"/>
        <a:defRPr sz="1100">
          <a:solidFill>
            <a:srgbClr val="000000"/>
          </a:solidFill>
          <a:latin typeface="+mn-lt"/>
          <a:cs typeface="+mn-cs"/>
        </a:defRPr>
      </a:lvl3pPr>
      <a:lvl4pPr marL="723900" indent="-17938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-"/>
        <a:defRPr sz="900">
          <a:solidFill>
            <a:srgbClr val="000000"/>
          </a:solidFill>
          <a:latin typeface="+mn-lt"/>
          <a:cs typeface="+mn-cs"/>
        </a:defRPr>
      </a:lvl4pPr>
      <a:lvl5pPr marL="885825" indent="-16033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5pPr>
      <a:lvl6pPr marL="13430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cs typeface="+mn-cs"/>
        </a:defRPr>
      </a:lvl6pPr>
      <a:lvl7pPr marL="18002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cs typeface="+mn-cs"/>
        </a:defRPr>
      </a:lvl7pPr>
      <a:lvl8pPr marL="22574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cs typeface="+mn-cs"/>
        </a:defRPr>
      </a:lvl8pPr>
      <a:lvl9pPr marL="27146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0" descr="group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gray">
          <a:xfrm>
            <a:off x="287338" y="6091238"/>
            <a:ext cx="3065462" cy="766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195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1125538"/>
            <a:ext cx="8029575" cy="57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1916113"/>
            <a:ext cx="8029575" cy="403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1035" name="Line 11"/>
          <p:cNvSpPr>
            <a:spLocks noChangeShapeType="1"/>
          </p:cNvSpPr>
          <p:nvPr/>
        </p:nvSpPr>
        <p:spPr bwMode="gray">
          <a:xfrm flipV="1">
            <a:off x="4572000" y="260350"/>
            <a:ext cx="0" cy="504825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ＭＳ Ｐゴシック" charset="0"/>
            </a:endParaRPr>
          </a:p>
        </p:txBody>
      </p:sp>
      <p:sp>
        <p:nvSpPr>
          <p:cNvPr id="1045" name="Rectangle 21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3838" y="6416675"/>
            <a:ext cx="1814512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36000" bIns="0" numCol="1" anchor="t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1046" name="Rectangle 22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b="1">
                <a:latin typeface="Arial" charset="0"/>
                <a:ea typeface="ＭＳ Ｐゴシック" charset="-128"/>
              </a:defRPr>
            </a:lvl1pPr>
          </a:lstStyle>
          <a:p>
            <a:pPr>
              <a:defRPr/>
            </a:pPr>
            <a:r>
              <a:rPr lang="fr-FR"/>
              <a:t>P.</a:t>
            </a:r>
            <a:fld id="{287B961F-A58C-4370-922E-1AE15615410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1047" name="Rectangle 23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771775" y="6416675"/>
            <a:ext cx="3597275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/>
            </a:lvl1pPr>
          </a:lstStyle>
          <a:p>
            <a:endParaRPr lang="fr-FR"/>
          </a:p>
        </p:txBody>
      </p:sp>
      <p:sp>
        <p:nvSpPr>
          <p:cNvPr id="1048" name="Rectangle 24"/>
          <p:cNvSpPr>
            <a:spLocks noChangeArrowheads="1"/>
          </p:cNvSpPr>
          <p:nvPr/>
        </p:nvSpPr>
        <p:spPr bwMode="gray">
          <a:xfrm>
            <a:off x="8426450" y="6415088"/>
            <a:ext cx="71438" cy="442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/>
          <a:lstStyle/>
          <a:p>
            <a:pPr>
              <a:defRPr/>
            </a:pPr>
            <a:r>
              <a:rPr lang="fr-FR" sz="800" b="1">
                <a:latin typeface="Arial" charset="0"/>
                <a:ea typeface="ＭＳ Ｐゴシック" charset="0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080" r:id="rId1"/>
    <p:sldLayoutId id="2147486079" r:id="rId2"/>
    <p:sldLayoutId id="2147486078" r:id="rId3"/>
    <p:sldLayoutId id="2147486077" r:id="rId4"/>
    <p:sldLayoutId id="2147486076" r:id="rId5"/>
    <p:sldLayoutId id="2147486075" r:id="rId6"/>
    <p:sldLayoutId id="2147486074" r:id="rId7"/>
    <p:sldLayoutId id="2147486073" r:id="rId8"/>
    <p:sldLayoutId id="2147486072" r:id="rId9"/>
    <p:sldLayoutId id="2147486071" r:id="rId10"/>
    <p:sldLayoutId id="2147486070" r:id="rId11"/>
  </p:sldLayoutIdLst>
  <p:hf sldNum="0" hdr="0" ftr="0"/>
  <p:txStyles>
    <p:titleStyle>
      <a:lvl1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+mj-lt"/>
          <a:ea typeface="ＭＳ Ｐゴシック" pitchFamily="34" charset="-128"/>
          <a:cs typeface="+mj-cs"/>
        </a:defRPr>
      </a:lvl1pPr>
      <a:lvl2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charset="0"/>
          <a:ea typeface="ＭＳ Ｐゴシック" pitchFamily="34" charset="-128"/>
          <a:cs typeface="Arial" charset="0"/>
        </a:defRPr>
      </a:lvl2pPr>
      <a:lvl3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charset="0"/>
          <a:ea typeface="ＭＳ Ｐゴシック" pitchFamily="34" charset="-128"/>
          <a:cs typeface="Arial" charset="0"/>
        </a:defRPr>
      </a:lvl3pPr>
      <a:lvl4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charset="0"/>
          <a:ea typeface="ＭＳ Ｐゴシック" pitchFamily="34" charset="-128"/>
          <a:cs typeface="Arial" charset="0"/>
        </a:defRPr>
      </a:lvl4pPr>
      <a:lvl5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charset="0"/>
          <a:ea typeface="ＭＳ Ｐゴシック" pitchFamily="34" charset="-128"/>
          <a:cs typeface="Arial" charset="0"/>
        </a:defRPr>
      </a:lvl5pPr>
      <a:lvl6pPr marL="4572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charset="0"/>
          <a:ea typeface="ＭＳ Ｐゴシック" charset="0"/>
          <a:cs typeface="Arial" charset="0"/>
        </a:defRPr>
      </a:lvl6pPr>
      <a:lvl7pPr marL="9144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charset="0"/>
          <a:ea typeface="ＭＳ Ｐゴシック" charset="0"/>
          <a:cs typeface="Arial" charset="0"/>
        </a:defRPr>
      </a:lvl7pPr>
      <a:lvl8pPr marL="13716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charset="0"/>
          <a:ea typeface="ＭＳ Ｐゴシック" charset="0"/>
          <a:cs typeface="Arial" charset="0"/>
        </a:defRPr>
      </a:lvl8pPr>
      <a:lvl9pPr marL="18288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charset="0"/>
          <a:ea typeface="ＭＳ Ｐゴシック" charset="0"/>
          <a:cs typeface="Arial" charset="0"/>
        </a:defRPr>
      </a:lvl9pPr>
    </p:titleStyle>
    <p:bodyStyle>
      <a:lvl1pPr marL="4763" indent="-4763" algn="l" rtl="0" eaLnBrk="0" fontAlgn="base" hangingPunct="0">
        <a:spcBef>
          <a:spcPct val="50000"/>
        </a:spcBef>
        <a:spcAft>
          <a:spcPct val="20000"/>
        </a:spcAft>
        <a:buFont typeface="Arial" pitchFamily="34" charset="0"/>
        <a:defRPr b="1">
          <a:solidFill>
            <a:srgbClr val="E60028"/>
          </a:solidFill>
          <a:latin typeface="+mn-lt"/>
          <a:ea typeface="ＭＳ Ｐゴシック" pitchFamily="34" charset="-128"/>
          <a:cs typeface="+mn-cs"/>
        </a:defRPr>
      </a:lvl1pPr>
      <a:lvl2pPr marL="12700" indent="-6350" algn="l" rtl="0" eaLnBrk="0" fontAlgn="base" hangingPunct="0">
        <a:spcBef>
          <a:spcPct val="0"/>
        </a:spcBef>
        <a:spcAft>
          <a:spcPct val="20000"/>
        </a:spcAft>
        <a:defRPr sz="1200" b="1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2pPr>
      <a:lvl3pPr marL="15875" indent="-1588" algn="l" rtl="0" eaLnBrk="0" fontAlgn="base" hangingPunct="0">
        <a:spcBef>
          <a:spcPct val="0"/>
        </a:spcBef>
        <a:spcAft>
          <a:spcPct val="20000"/>
        </a:spcAft>
        <a:buSzPct val="80000"/>
        <a:buFont typeface="Wingdings" pitchFamily="2" charset="2"/>
        <a:defRPr sz="1000" b="1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3pPr>
      <a:lvl4pPr marL="20638" indent="-3175" algn="l" rtl="0" eaLnBrk="0" fontAlgn="base" hangingPunct="0">
        <a:spcBef>
          <a:spcPct val="0"/>
        </a:spcBef>
        <a:spcAft>
          <a:spcPct val="40000"/>
        </a:spcAft>
        <a:defRPr sz="9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4pPr>
      <a:lvl5pPr marL="25400" indent="-3175" algn="l" rtl="0" eaLnBrk="0" fontAlgn="base" hangingPunct="0">
        <a:spcBef>
          <a:spcPct val="0"/>
        </a:spcBef>
        <a:spcAft>
          <a:spcPct val="20000"/>
        </a:spcAft>
        <a:buFont typeface="Arial" pitchFamily="34" charset="0"/>
        <a:defRPr sz="8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5pPr>
      <a:lvl6pPr marL="482600" indent="-3175" algn="l" rtl="0" fontAlgn="base">
        <a:spcBef>
          <a:spcPct val="0"/>
        </a:spcBef>
        <a:spcAft>
          <a:spcPct val="20000"/>
        </a:spcAft>
        <a:buFont typeface="Arial" charset="0"/>
        <a:defRPr sz="800">
          <a:solidFill>
            <a:srgbClr val="000000"/>
          </a:solidFill>
          <a:latin typeface="+mn-lt"/>
          <a:ea typeface="Arial" charset="0"/>
          <a:cs typeface="+mn-cs"/>
        </a:defRPr>
      </a:lvl6pPr>
      <a:lvl7pPr marL="939800" indent="-3175" algn="l" rtl="0" fontAlgn="base">
        <a:spcBef>
          <a:spcPct val="0"/>
        </a:spcBef>
        <a:spcAft>
          <a:spcPct val="20000"/>
        </a:spcAft>
        <a:buFont typeface="Arial" charset="0"/>
        <a:defRPr sz="800">
          <a:solidFill>
            <a:srgbClr val="000000"/>
          </a:solidFill>
          <a:latin typeface="+mn-lt"/>
          <a:ea typeface="Arial" charset="0"/>
          <a:cs typeface="+mn-cs"/>
        </a:defRPr>
      </a:lvl7pPr>
      <a:lvl8pPr marL="1397000" indent="-3175" algn="l" rtl="0" fontAlgn="base">
        <a:spcBef>
          <a:spcPct val="0"/>
        </a:spcBef>
        <a:spcAft>
          <a:spcPct val="20000"/>
        </a:spcAft>
        <a:buFont typeface="Arial" charset="0"/>
        <a:defRPr sz="800">
          <a:solidFill>
            <a:srgbClr val="000000"/>
          </a:solidFill>
          <a:latin typeface="+mn-lt"/>
          <a:ea typeface="Arial" charset="0"/>
          <a:cs typeface="+mn-cs"/>
        </a:defRPr>
      </a:lvl8pPr>
      <a:lvl9pPr marL="1854200" indent="-3175" algn="l" rtl="0" fontAlgn="base">
        <a:spcBef>
          <a:spcPct val="0"/>
        </a:spcBef>
        <a:spcAft>
          <a:spcPct val="20000"/>
        </a:spcAft>
        <a:buFont typeface="Arial" charset="0"/>
        <a:defRPr sz="800">
          <a:solidFill>
            <a:srgbClr val="000000"/>
          </a:solidFill>
          <a:latin typeface="+mn-lt"/>
          <a:ea typeface="Arial" charset="0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260350"/>
            <a:ext cx="7831137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26627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908050"/>
            <a:ext cx="8029575" cy="4897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10244" name="Line 9"/>
          <p:cNvSpPr>
            <a:spLocks noChangeShapeType="1"/>
          </p:cNvSpPr>
          <p:nvPr/>
        </p:nvSpPr>
        <p:spPr bwMode="gray">
          <a:xfrm flipH="1">
            <a:off x="323850" y="755650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+mn-ea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276" r:id="rId1"/>
    <p:sldLayoutId id="2147486275" r:id="rId2"/>
    <p:sldLayoutId id="2147486274" r:id="rId3"/>
    <p:sldLayoutId id="2147486273" r:id="rId4"/>
    <p:sldLayoutId id="2147486272" r:id="rId5"/>
    <p:sldLayoutId id="2147486271" r:id="rId6"/>
    <p:sldLayoutId id="2147486270" r:id="rId7"/>
    <p:sldLayoutId id="2147486269" r:id="rId8"/>
    <p:sldLayoutId id="2147486268" r:id="rId9"/>
    <p:sldLayoutId id="2147486267" r:id="rId10"/>
    <p:sldLayoutId id="2147486266" r:id="rId11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+mj-lt"/>
          <a:ea typeface="ＭＳ Ｐゴシック" pitchFamily="34" charset="-128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MS PGothic" pitchFamily="34" charset="-128"/>
          <a:cs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MS PGothic" pitchFamily="34" charset="-128"/>
          <a:cs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MS PGothic" pitchFamily="34" charset="-128"/>
          <a:cs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MS PGothic" pitchFamily="34" charset="-128"/>
          <a:cs typeface="Arial" pitchFamily="34" charset="0"/>
        </a:defRPr>
      </a:lvl9pPr>
    </p:titleStyle>
    <p:bodyStyle>
      <a:lvl1pPr marL="180975" indent="-180975" algn="l" rtl="0" eaLnBrk="0" fontAlgn="base" hangingPunct="0">
        <a:spcBef>
          <a:spcPct val="100000"/>
        </a:spcBef>
        <a:spcAft>
          <a:spcPct val="0"/>
        </a:spcAft>
        <a:buClr>
          <a:srgbClr val="666666"/>
        </a:buClr>
        <a:buFont typeface="Wingdings" pitchFamily="2" charset="2"/>
        <a:buChar char="§"/>
        <a:defRPr sz="1600" b="1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1pPr>
      <a:lvl2pPr marL="360363" indent="-177800" algn="l" rtl="0" eaLnBrk="0" fontAlgn="base" hangingPunct="0">
        <a:spcBef>
          <a:spcPct val="50000"/>
        </a:spcBef>
        <a:spcAft>
          <a:spcPct val="0"/>
        </a:spcAft>
        <a:buChar char="•"/>
        <a:defRPr sz="13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2pPr>
      <a:lvl3pPr marL="542925" indent="-180975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▫"/>
        <a:defRPr sz="11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3pPr>
      <a:lvl4pPr marL="723900" indent="-17938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-"/>
        <a:defRPr sz="9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4pPr>
      <a:lvl5pPr marL="885825" indent="-16033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5pPr>
      <a:lvl6pPr marL="13430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6pPr>
      <a:lvl7pPr marL="18002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7pPr>
      <a:lvl8pPr marL="22574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8pPr>
      <a:lvl9pPr marL="27146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260350"/>
            <a:ext cx="7831137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27651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908050"/>
            <a:ext cx="8029575" cy="4897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1010697" name="Line 9"/>
          <p:cNvSpPr>
            <a:spLocks noChangeShapeType="1"/>
          </p:cNvSpPr>
          <p:nvPr/>
        </p:nvSpPr>
        <p:spPr bwMode="gray">
          <a:xfrm flipH="1">
            <a:off x="323850" y="755650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+mn-ea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287" r:id="rId1"/>
    <p:sldLayoutId id="2147486286" r:id="rId2"/>
    <p:sldLayoutId id="2147486285" r:id="rId3"/>
    <p:sldLayoutId id="2147486284" r:id="rId4"/>
    <p:sldLayoutId id="2147486283" r:id="rId5"/>
    <p:sldLayoutId id="2147486282" r:id="rId6"/>
    <p:sldLayoutId id="2147486281" r:id="rId7"/>
    <p:sldLayoutId id="2147486280" r:id="rId8"/>
    <p:sldLayoutId id="2147486279" r:id="rId9"/>
    <p:sldLayoutId id="2147486278" r:id="rId10"/>
    <p:sldLayoutId id="2147486277" r:id="rId11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9pPr>
    </p:titleStyle>
    <p:bodyStyle>
      <a:lvl1pPr marL="180975" indent="-180975" algn="l" rtl="0" eaLnBrk="0" fontAlgn="base" hangingPunct="0">
        <a:spcBef>
          <a:spcPct val="100000"/>
        </a:spcBef>
        <a:spcAft>
          <a:spcPct val="0"/>
        </a:spcAft>
        <a:buClr>
          <a:srgbClr val="666666"/>
        </a:buClr>
        <a:buFont typeface="Wingdings" pitchFamily="2" charset="2"/>
        <a:buChar char="§"/>
        <a:defRPr sz="1600" b="1">
          <a:solidFill>
            <a:srgbClr val="000000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spcBef>
          <a:spcPct val="50000"/>
        </a:spcBef>
        <a:spcAft>
          <a:spcPct val="0"/>
        </a:spcAft>
        <a:buChar char="•"/>
        <a:defRPr sz="1300">
          <a:solidFill>
            <a:srgbClr val="000000"/>
          </a:solidFill>
          <a:latin typeface="+mn-lt"/>
          <a:cs typeface="+mn-cs"/>
        </a:defRPr>
      </a:lvl2pPr>
      <a:lvl3pPr marL="542925" indent="-180975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▫"/>
        <a:defRPr sz="1100">
          <a:solidFill>
            <a:srgbClr val="000000"/>
          </a:solidFill>
          <a:latin typeface="+mn-lt"/>
          <a:cs typeface="+mn-cs"/>
        </a:defRPr>
      </a:lvl3pPr>
      <a:lvl4pPr marL="723900" indent="-17938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-"/>
        <a:defRPr sz="900">
          <a:solidFill>
            <a:srgbClr val="000000"/>
          </a:solidFill>
          <a:latin typeface="+mn-lt"/>
          <a:cs typeface="+mn-cs"/>
        </a:defRPr>
      </a:lvl4pPr>
      <a:lvl5pPr marL="885825" indent="-16033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5pPr>
      <a:lvl6pPr marL="13430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6pPr>
      <a:lvl7pPr marL="18002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7pPr>
      <a:lvl8pPr marL="22574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8pPr>
      <a:lvl9pPr marL="27146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260350"/>
            <a:ext cx="7831137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28675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908050"/>
            <a:ext cx="8029575" cy="4897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10244" name="Line 9"/>
          <p:cNvSpPr>
            <a:spLocks noChangeShapeType="1"/>
          </p:cNvSpPr>
          <p:nvPr/>
        </p:nvSpPr>
        <p:spPr bwMode="gray">
          <a:xfrm flipH="1">
            <a:off x="323850" y="755650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+mn-ea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298" r:id="rId1"/>
    <p:sldLayoutId id="2147486297" r:id="rId2"/>
    <p:sldLayoutId id="2147486296" r:id="rId3"/>
    <p:sldLayoutId id="2147486295" r:id="rId4"/>
    <p:sldLayoutId id="2147486294" r:id="rId5"/>
    <p:sldLayoutId id="2147486293" r:id="rId6"/>
    <p:sldLayoutId id="2147486292" r:id="rId7"/>
    <p:sldLayoutId id="2147486291" r:id="rId8"/>
    <p:sldLayoutId id="2147486290" r:id="rId9"/>
    <p:sldLayoutId id="2147486289" r:id="rId10"/>
    <p:sldLayoutId id="2147486288" r:id="rId11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9pPr>
    </p:titleStyle>
    <p:bodyStyle>
      <a:lvl1pPr marL="180975" indent="-180975" algn="l" rtl="0" eaLnBrk="0" fontAlgn="base" hangingPunct="0">
        <a:spcBef>
          <a:spcPct val="100000"/>
        </a:spcBef>
        <a:spcAft>
          <a:spcPct val="0"/>
        </a:spcAft>
        <a:buClr>
          <a:srgbClr val="666666"/>
        </a:buClr>
        <a:buFont typeface="Wingdings" pitchFamily="2" charset="2"/>
        <a:buChar char="§"/>
        <a:defRPr sz="1600" b="1">
          <a:solidFill>
            <a:srgbClr val="000000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spcBef>
          <a:spcPct val="50000"/>
        </a:spcBef>
        <a:spcAft>
          <a:spcPct val="0"/>
        </a:spcAft>
        <a:buChar char="•"/>
        <a:defRPr sz="1300">
          <a:solidFill>
            <a:srgbClr val="000000"/>
          </a:solidFill>
          <a:latin typeface="+mn-lt"/>
          <a:ea typeface="+mn-ea"/>
          <a:cs typeface="+mn-cs"/>
        </a:defRPr>
      </a:lvl2pPr>
      <a:lvl3pPr marL="542925" indent="-180975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▫"/>
        <a:defRPr sz="1100">
          <a:solidFill>
            <a:srgbClr val="000000"/>
          </a:solidFill>
          <a:latin typeface="+mn-lt"/>
          <a:ea typeface="+mn-ea"/>
          <a:cs typeface="+mn-cs"/>
        </a:defRPr>
      </a:lvl3pPr>
      <a:lvl4pPr marL="723900" indent="-17938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-"/>
        <a:defRPr sz="900">
          <a:solidFill>
            <a:srgbClr val="000000"/>
          </a:solidFill>
          <a:latin typeface="+mn-lt"/>
          <a:ea typeface="+mn-ea"/>
          <a:cs typeface="+mn-cs"/>
        </a:defRPr>
      </a:lvl4pPr>
      <a:lvl5pPr marL="885825" indent="-16033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5pPr>
      <a:lvl6pPr marL="13430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6pPr>
      <a:lvl7pPr marL="18002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7pPr>
      <a:lvl8pPr marL="22574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8pPr>
      <a:lvl9pPr marL="27146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260350"/>
            <a:ext cx="7831137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29699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1052513"/>
            <a:ext cx="8029575" cy="489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728070" name="Rectangle 6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3838" y="6416675"/>
            <a:ext cx="1814512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36000" bIns="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latin typeface="Arial" pitchFamily="34" charset="0"/>
              </a:defRPr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728071" name="Rectangle 7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b="1">
                <a:latin typeface="+mn-lt"/>
                <a:ea typeface="+mn-ea"/>
              </a:defRPr>
            </a:lvl1pPr>
          </a:lstStyle>
          <a:p>
            <a:pPr>
              <a:defRPr/>
            </a:pPr>
            <a:r>
              <a:rPr lang="fr-FR"/>
              <a:t>P.</a:t>
            </a:r>
            <a:fld id="{4FD08631-D8C6-4311-BC9A-5FEBDD172AD1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28072" name="Rectangle 8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771775" y="6416675"/>
            <a:ext cx="3597275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/>
            </a:lvl1pPr>
          </a:lstStyle>
          <a:p>
            <a:endParaRPr lang="fr-FR"/>
          </a:p>
        </p:txBody>
      </p:sp>
      <p:sp>
        <p:nvSpPr>
          <p:cNvPr id="728074" name="Line 10"/>
          <p:cNvSpPr>
            <a:spLocks noChangeShapeType="1"/>
          </p:cNvSpPr>
          <p:nvPr/>
        </p:nvSpPr>
        <p:spPr bwMode="gray">
          <a:xfrm flipH="1">
            <a:off x="323850" y="6194425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ＭＳ Ｐゴシック" charset="0"/>
            </a:endParaRPr>
          </a:p>
        </p:txBody>
      </p:sp>
      <p:sp>
        <p:nvSpPr>
          <p:cNvPr id="728076" name="Line 12"/>
          <p:cNvSpPr>
            <a:spLocks noChangeShapeType="1"/>
          </p:cNvSpPr>
          <p:nvPr/>
        </p:nvSpPr>
        <p:spPr bwMode="gray">
          <a:xfrm flipH="1">
            <a:off x="323850" y="755650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ＭＳ Ｐゴシック" charset="0"/>
            </a:endParaRPr>
          </a:p>
        </p:txBody>
      </p:sp>
      <p:sp>
        <p:nvSpPr>
          <p:cNvPr id="728077" name="Rectangle 13"/>
          <p:cNvSpPr>
            <a:spLocks noChangeArrowheads="1"/>
          </p:cNvSpPr>
          <p:nvPr/>
        </p:nvSpPr>
        <p:spPr bwMode="gray">
          <a:xfrm>
            <a:off x="8426450" y="6415088"/>
            <a:ext cx="71438" cy="442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/>
          <a:lstStyle/>
          <a:p>
            <a:pPr>
              <a:defRPr/>
            </a:pPr>
            <a:r>
              <a:rPr lang="fr-FR" sz="800" b="1">
                <a:latin typeface="Arial" charset="0"/>
                <a:ea typeface="ＭＳ Ｐゴシック" charset="0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309" r:id="rId1"/>
    <p:sldLayoutId id="2147486308" r:id="rId2"/>
    <p:sldLayoutId id="2147486307" r:id="rId3"/>
    <p:sldLayoutId id="2147486306" r:id="rId4"/>
    <p:sldLayoutId id="2147486305" r:id="rId5"/>
    <p:sldLayoutId id="2147486304" r:id="rId6"/>
    <p:sldLayoutId id="2147486303" r:id="rId7"/>
    <p:sldLayoutId id="2147486302" r:id="rId8"/>
    <p:sldLayoutId id="2147486301" r:id="rId9"/>
    <p:sldLayoutId id="2147486300" r:id="rId10"/>
    <p:sldLayoutId id="2147486299" r:id="rId11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9pPr>
    </p:titleStyle>
    <p:bodyStyle>
      <a:lvl1pPr marL="180975" indent="-180975" algn="l" rtl="0" eaLnBrk="0" fontAlgn="base" hangingPunct="0">
        <a:spcBef>
          <a:spcPct val="100000"/>
        </a:spcBef>
        <a:spcAft>
          <a:spcPct val="0"/>
        </a:spcAft>
        <a:buClr>
          <a:srgbClr val="666666"/>
        </a:buClr>
        <a:buFont typeface="Wingdings" pitchFamily="2" charset="2"/>
        <a:buChar char="§"/>
        <a:defRPr sz="1600" b="1">
          <a:solidFill>
            <a:srgbClr val="000000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spcBef>
          <a:spcPct val="50000"/>
        </a:spcBef>
        <a:spcAft>
          <a:spcPct val="0"/>
        </a:spcAft>
        <a:buChar char="•"/>
        <a:defRPr sz="1300">
          <a:solidFill>
            <a:srgbClr val="000000"/>
          </a:solidFill>
          <a:latin typeface="+mn-lt"/>
          <a:ea typeface="+mn-ea"/>
          <a:cs typeface="+mn-cs"/>
        </a:defRPr>
      </a:lvl2pPr>
      <a:lvl3pPr marL="542925" indent="-180975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▫"/>
        <a:defRPr sz="1100">
          <a:solidFill>
            <a:srgbClr val="000000"/>
          </a:solidFill>
          <a:latin typeface="+mn-lt"/>
          <a:ea typeface="+mn-ea"/>
          <a:cs typeface="+mn-cs"/>
        </a:defRPr>
      </a:lvl3pPr>
      <a:lvl4pPr marL="723900" indent="-17938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-"/>
        <a:defRPr sz="900">
          <a:solidFill>
            <a:srgbClr val="000000"/>
          </a:solidFill>
          <a:latin typeface="+mn-lt"/>
          <a:ea typeface="+mn-ea"/>
          <a:cs typeface="+mn-cs"/>
        </a:defRPr>
      </a:lvl4pPr>
      <a:lvl5pPr marL="885825" indent="-16033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5pPr>
      <a:lvl6pPr marL="13430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6pPr>
      <a:lvl7pPr marL="18002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7pPr>
      <a:lvl8pPr marL="22574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8pPr>
      <a:lvl9pPr marL="27146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2" name="Picture 2" descr="group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gray">
          <a:xfrm>
            <a:off x="287338" y="6091238"/>
            <a:ext cx="3065462" cy="766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3635" name="Line 10"/>
          <p:cNvSpPr>
            <a:spLocks noChangeShapeType="1"/>
          </p:cNvSpPr>
          <p:nvPr/>
        </p:nvSpPr>
        <p:spPr bwMode="gray">
          <a:xfrm flipH="1">
            <a:off x="323850" y="6194425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453636" name="Line 12"/>
          <p:cNvSpPr>
            <a:spLocks noChangeShapeType="1"/>
          </p:cNvSpPr>
          <p:nvPr/>
        </p:nvSpPr>
        <p:spPr bwMode="gray">
          <a:xfrm flipH="1">
            <a:off x="323850" y="755650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86026" name="Rectangle 13"/>
          <p:cNvSpPr>
            <a:spLocks noChangeArrowheads="1"/>
          </p:cNvSpPr>
          <p:nvPr/>
        </p:nvSpPr>
        <p:spPr bwMode="gray">
          <a:xfrm>
            <a:off x="8426450" y="6415088"/>
            <a:ext cx="71438" cy="442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rgbClr val="000000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rgbClr val="000000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rgbClr val="000000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rgbClr val="000000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rgbClr val="000000"/>
                </a:solidFill>
                <a:latin typeface="Calibri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Calibri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Calibri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Calibri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fr-FR" altLang="fr-FR" sz="800" b="1" dirty="0" smtClean="0">
                <a:latin typeface="Arial" charset="0"/>
                <a:ea typeface="+mn-ea"/>
              </a:rPr>
              <a:t>|</a:t>
            </a:r>
          </a:p>
        </p:txBody>
      </p:sp>
      <p:sp>
        <p:nvSpPr>
          <p:cNvPr id="30726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260350"/>
            <a:ext cx="7831137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 STYLE DU TITRE</a:t>
            </a:r>
          </a:p>
        </p:txBody>
      </p:sp>
      <p:sp>
        <p:nvSpPr>
          <p:cNvPr id="30727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1052513"/>
            <a:ext cx="8029575" cy="489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  <a:p>
            <a:pPr lvl="4"/>
            <a:r>
              <a:rPr lang="fr-FR" altLang="fr-FR" smtClean="0"/>
              <a:t>Cinquième niveau</a:t>
            </a: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3838" y="6416675"/>
            <a:ext cx="1814512" cy="441325"/>
          </a:xfrm>
          <a:prstGeom prst="rect">
            <a:avLst/>
          </a:prstGeom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0" tIns="0" rIns="36000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buFontTx/>
              <a:buChar char="•"/>
              <a:defRPr sz="8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 dirty="0"/>
          </a:p>
        </p:txBody>
      </p:sp>
      <p:sp>
        <p:nvSpPr>
          <p:cNvPr id="12" name="Rectangle 7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459788" y="6416675"/>
            <a:ext cx="360362" cy="441325"/>
          </a:xfrm>
          <a:prstGeom prst="rect">
            <a:avLst/>
          </a:prstGeom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buFontTx/>
              <a:buChar char="•"/>
              <a:defRPr sz="800" b="1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fr-FR"/>
              <a:t>P.</a:t>
            </a:r>
            <a:fld id="{3B2D8AB1-BCA9-4D66-A079-EF7A5B90B9C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13" name="Rectangle 8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771775" y="6416675"/>
            <a:ext cx="3597275" cy="441325"/>
          </a:xfrm>
          <a:prstGeom prst="rect">
            <a:avLst/>
          </a:prstGeom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buFontTx/>
              <a:buChar char="•"/>
              <a:defRPr sz="800"/>
            </a:lvl1pPr>
          </a:lstStyle>
          <a:p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320" r:id="rId1"/>
    <p:sldLayoutId id="2147486319" r:id="rId2"/>
    <p:sldLayoutId id="2147486318" r:id="rId3"/>
    <p:sldLayoutId id="2147486317" r:id="rId4"/>
    <p:sldLayoutId id="2147486316" r:id="rId5"/>
    <p:sldLayoutId id="2147486315" r:id="rId6"/>
    <p:sldLayoutId id="2147486314" r:id="rId7"/>
    <p:sldLayoutId id="2147486313" r:id="rId8"/>
    <p:sldLayoutId id="2147486312" r:id="rId9"/>
    <p:sldLayoutId id="2147486311" r:id="rId10"/>
    <p:sldLayoutId id="2147486310" r:id="rId11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9pPr>
    </p:titleStyle>
    <p:bodyStyle>
      <a:lvl1pPr marL="180975" indent="-180975" algn="l" rtl="0" eaLnBrk="0" fontAlgn="base" hangingPunct="0">
        <a:spcBef>
          <a:spcPct val="100000"/>
        </a:spcBef>
        <a:spcAft>
          <a:spcPct val="0"/>
        </a:spcAft>
        <a:buClr>
          <a:srgbClr val="666666"/>
        </a:buClr>
        <a:buFont typeface="Wingdings" pitchFamily="2" charset="2"/>
        <a:buChar char="§"/>
        <a:defRPr sz="1600" b="1">
          <a:solidFill>
            <a:srgbClr val="000000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spcBef>
          <a:spcPct val="50000"/>
        </a:spcBef>
        <a:spcAft>
          <a:spcPct val="0"/>
        </a:spcAft>
        <a:buChar char="•"/>
        <a:defRPr sz="1300">
          <a:solidFill>
            <a:srgbClr val="000000"/>
          </a:solidFill>
          <a:latin typeface="+mn-lt"/>
          <a:cs typeface="+mn-cs"/>
        </a:defRPr>
      </a:lvl2pPr>
      <a:lvl3pPr marL="542925" indent="-180975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▫"/>
        <a:defRPr sz="1100">
          <a:solidFill>
            <a:srgbClr val="000000"/>
          </a:solidFill>
          <a:latin typeface="+mn-lt"/>
          <a:cs typeface="+mn-cs"/>
        </a:defRPr>
      </a:lvl3pPr>
      <a:lvl4pPr marL="723900" indent="-17938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-"/>
        <a:defRPr sz="900">
          <a:solidFill>
            <a:srgbClr val="000000"/>
          </a:solidFill>
          <a:latin typeface="+mn-lt"/>
          <a:cs typeface="+mn-cs"/>
        </a:defRPr>
      </a:lvl4pPr>
      <a:lvl5pPr marL="885825" indent="-16033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5pPr>
      <a:lvl6pPr marL="13430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6pPr>
      <a:lvl7pPr marL="18002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7pPr>
      <a:lvl8pPr marL="22574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8pPr>
      <a:lvl9pPr marL="27146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6" name="Picture 2" descr="group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gray">
          <a:xfrm>
            <a:off x="287338" y="6091238"/>
            <a:ext cx="3065462" cy="766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747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260350"/>
            <a:ext cx="7831137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1052513"/>
            <a:ext cx="8029575" cy="489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728070" name="Rectangle 6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3838" y="6416675"/>
            <a:ext cx="1814512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36000" bIns="0" numCol="1" anchor="t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728071" name="Rectangle 7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b="1">
                <a:latin typeface="+mn-lt"/>
                <a:ea typeface="+mn-ea"/>
              </a:defRPr>
            </a:lvl1pPr>
          </a:lstStyle>
          <a:p>
            <a:pPr>
              <a:defRPr/>
            </a:pPr>
            <a:r>
              <a:rPr lang="fr-FR"/>
              <a:t>P.</a:t>
            </a:r>
            <a:fld id="{CAF08D14-E4E2-43CB-BF61-37BA2C6571E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28072" name="Rectangle 8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771775" y="6416675"/>
            <a:ext cx="3597275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/>
            </a:lvl1pPr>
          </a:lstStyle>
          <a:p>
            <a:endParaRPr lang="fr-FR"/>
          </a:p>
        </p:txBody>
      </p:sp>
      <p:sp>
        <p:nvSpPr>
          <p:cNvPr id="728074" name="Line 10"/>
          <p:cNvSpPr>
            <a:spLocks noChangeShapeType="1"/>
          </p:cNvSpPr>
          <p:nvPr/>
        </p:nvSpPr>
        <p:spPr bwMode="gray">
          <a:xfrm flipH="1">
            <a:off x="323850" y="6194425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ＭＳ Ｐゴシック" charset="0"/>
            </a:endParaRPr>
          </a:p>
        </p:txBody>
      </p:sp>
      <p:sp>
        <p:nvSpPr>
          <p:cNvPr id="728076" name="Line 12"/>
          <p:cNvSpPr>
            <a:spLocks noChangeShapeType="1"/>
          </p:cNvSpPr>
          <p:nvPr/>
        </p:nvSpPr>
        <p:spPr bwMode="gray">
          <a:xfrm flipH="1">
            <a:off x="323850" y="755650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ＭＳ Ｐゴシック" charset="0"/>
            </a:endParaRPr>
          </a:p>
        </p:txBody>
      </p:sp>
      <p:sp>
        <p:nvSpPr>
          <p:cNvPr id="728077" name="Rectangle 13"/>
          <p:cNvSpPr>
            <a:spLocks noChangeArrowheads="1"/>
          </p:cNvSpPr>
          <p:nvPr/>
        </p:nvSpPr>
        <p:spPr bwMode="gray">
          <a:xfrm>
            <a:off x="8426450" y="6415088"/>
            <a:ext cx="71438" cy="442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/>
          <a:lstStyle/>
          <a:p>
            <a:pPr>
              <a:defRPr/>
            </a:pPr>
            <a:r>
              <a:rPr lang="fr-FR" sz="800" b="1">
                <a:latin typeface="Arial" charset="0"/>
                <a:ea typeface="ＭＳ Ｐゴシック" charset="0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331" r:id="rId1"/>
    <p:sldLayoutId id="2147486330" r:id="rId2"/>
    <p:sldLayoutId id="2147486329" r:id="rId3"/>
    <p:sldLayoutId id="2147486328" r:id="rId4"/>
    <p:sldLayoutId id="2147486327" r:id="rId5"/>
    <p:sldLayoutId id="2147486326" r:id="rId6"/>
    <p:sldLayoutId id="2147486325" r:id="rId7"/>
    <p:sldLayoutId id="2147486324" r:id="rId8"/>
    <p:sldLayoutId id="2147486323" r:id="rId9"/>
    <p:sldLayoutId id="2147486322" r:id="rId10"/>
    <p:sldLayoutId id="2147486321" r:id="rId11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9pPr>
    </p:titleStyle>
    <p:bodyStyle>
      <a:lvl1pPr marL="180975" indent="-180975" algn="l" rtl="0" eaLnBrk="0" fontAlgn="base" hangingPunct="0">
        <a:spcBef>
          <a:spcPct val="100000"/>
        </a:spcBef>
        <a:spcAft>
          <a:spcPct val="0"/>
        </a:spcAft>
        <a:buClr>
          <a:srgbClr val="666666"/>
        </a:buClr>
        <a:buFont typeface="Wingdings" pitchFamily="2" charset="2"/>
        <a:buChar char="§"/>
        <a:defRPr sz="1600" b="1">
          <a:solidFill>
            <a:srgbClr val="000000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spcBef>
          <a:spcPct val="50000"/>
        </a:spcBef>
        <a:spcAft>
          <a:spcPct val="0"/>
        </a:spcAft>
        <a:buChar char="•"/>
        <a:defRPr sz="1300">
          <a:solidFill>
            <a:srgbClr val="000000"/>
          </a:solidFill>
          <a:latin typeface="+mn-lt"/>
          <a:ea typeface="+mn-ea"/>
          <a:cs typeface="+mn-cs"/>
        </a:defRPr>
      </a:lvl2pPr>
      <a:lvl3pPr marL="542925" indent="-180975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▫"/>
        <a:defRPr sz="1100">
          <a:solidFill>
            <a:srgbClr val="000000"/>
          </a:solidFill>
          <a:latin typeface="+mn-lt"/>
          <a:ea typeface="+mn-ea"/>
          <a:cs typeface="+mn-cs"/>
        </a:defRPr>
      </a:lvl3pPr>
      <a:lvl4pPr marL="723900" indent="-17938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-"/>
        <a:defRPr sz="900">
          <a:solidFill>
            <a:srgbClr val="000000"/>
          </a:solidFill>
          <a:latin typeface="+mn-lt"/>
          <a:ea typeface="+mn-ea"/>
          <a:cs typeface="+mn-cs"/>
        </a:defRPr>
      </a:lvl4pPr>
      <a:lvl5pPr marL="885825" indent="-16033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5pPr>
      <a:lvl6pPr marL="13430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6pPr>
      <a:lvl7pPr marL="18002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7pPr>
      <a:lvl8pPr marL="22574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8pPr>
      <a:lvl9pPr marL="27146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70" name="Picture 2" descr="group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gray">
          <a:xfrm>
            <a:off x="287338" y="6091238"/>
            <a:ext cx="3065462" cy="766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771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260350"/>
            <a:ext cx="7831137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32772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1052513"/>
            <a:ext cx="8029575" cy="489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728070" name="Rectangle 6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3838" y="6416675"/>
            <a:ext cx="1814512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36000" bIns="0" numCol="1" anchor="t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728071" name="Rectangle 7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b="1">
                <a:latin typeface="+mn-lt"/>
                <a:ea typeface="+mn-ea"/>
              </a:defRPr>
            </a:lvl1pPr>
          </a:lstStyle>
          <a:p>
            <a:pPr>
              <a:defRPr/>
            </a:pPr>
            <a:r>
              <a:rPr lang="fr-FR"/>
              <a:t>P.</a:t>
            </a:r>
            <a:fld id="{73439129-0315-4E7E-A2C4-E49383CC5B1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28072" name="Rectangle 8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771775" y="6416675"/>
            <a:ext cx="3597275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/>
            </a:lvl1pPr>
          </a:lstStyle>
          <a:p>
            <a:endParaRPr lang="fr-FR"/>
          </a:p>
        </p:txBody>
      </p:sp>
      <p:sp>
        <p:nvSpPr>
          <p:cNvPr id="728074" name="Line 10"/>
          <p:cNvSpPr>
            <a:spLocks noChangeShapeType="1"/>
          </p:cNvSpPr>
          <p:nvPr/>
        </p:nvSpPr>
        <p:spPr bwMode="gray">
          <a:xfrm flipH="1">
            <a:off x="323850" y="6194425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ＭＳ Ｐゴシック" charset="0"/>
            </a:endParaRPr>
          </a:p>
        </p:txBody>
      </p:sp>
      <p:sp>
        <p:nvSpPr>
          <p:cNvPr id="728076" name="Line 12"/>
          <p:cNvSpPr>
            <a:spLocks noChangeShapeType="1"/>
          </p:cNvSpPr>
          <p:nvPr/>
        </p:nvSpPr>
        <p:spPr bwMode="gray">
          <a:xfrm flipH="1">
            <a:off x="323850" y="755650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ＭＳ Ｐゴシック" charset="0"/>
            </a:endParaRPr>
          </a:p>
        </p:txBody>
      </p:sp>
      <p:sp>
        <p:nvSpPr>
          <p:cNvPr id="728077" name="Rectangle 13"/>
          <p:cNvSpPr>
            <a:spLocks noChangeArrowheads="1"/>
          </p:cNvSpPr>
          <p:nvPr/>
        </p:nvSpPr>
        <p:spPr bwMode="gray">
          <a:xfrm>
            <a:off x="8426450" y="6415088"/>
            <a:ext cx="71438" cy="442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/>
          <a:lstStyle/>
          <a:p>
            <a:pPr>
              <a:defRPr/>
            </a:pPr>
            <a:r>
              <a:rPr lang="fr-FR" sz="800" b="1">
                <a:latin typeface="Arial" charset="0"/>
                <a:ea typeface="ＭＳ Ｐゴシック" charset="0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342" r:id="rId1"/>
    <p:sldLayoutId id="2147486341" r:id="rId2"/>
    <p:sldLayoutId id="2147486340" r:id="rId3"/>
    <p:sldLayoutId id="2147486339" r:id="rId4"/>
    <p:sldLayoutId id="2147486338" r:id="rId5"/>
    <p:sldLayoutId id="2147486337" r:id="rId6"/>
    <p:sldLayoutId id="2147486336" r:id="rId7"/>
    <p:sldLayoutId id="2147486335" r:id="rId8"/>
    <p:sldLayoutId id="2147486334" r:id="rId9"/>
    <p:sldLayoutId id="2147486333" r:id="rId10"/>
    <p:sldLayoutId id="2147486332" r:id="rId11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9pPr>
    </p:titleStyle>
    <p:bodyStyle>
      <a:lvl1pPr marL="180975" indent="-180975" algn="l" rtl="0" eaLnBrk="0" fontAlgn="base" hangingPunct="0">
        <a:spcBef>
          <a:spcPct val="100000"/>
        </a:spcBef>
        <a:spcAft>
          <a:spcPct val="0"/>
        </a:spcAft>
        <a:buClr>
          <a:srgbClr val="666666"/>
        </a:buClr>
        <a:buFont typeface="Wingdings" pitchFamily="2" charset="2"/>
        <a:buChar char="§"/>
        <a:defRPr sz="1600" b="1">
          <a:solidFill>
            <a:srgbClr val="000000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spcBef>
          <a:spcPct val="50000"/>
        </a:spcBef>
        <a:spcAft>
          <a:spcPct val="0"/>
        </a:spcAft>
        <a:buChar char="•"/>
        <a:defRPr sz="1300">
          <a:solidFill>
            <a:srgbClr val="000000"/>
          </a:solidFill>
          <a:latin typeface="+mn-lt"/>
          <a:ea typeface="+mn-ea"/>
          <a:cs typeface="+mn-cs"/>
        </a:defRPr>
      </a:lvl2pPr>
      <a:lvl3pPr marL="542925" indent="-180975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▫"/>
        <a:defRPr sz="1100">
          <a:solidFill>
            <a:srgbClr val="000000"/>
          </a:solidFill>
          <a:latin typeface="+mn-lt"/>
          <a:ea typeface="+mn-ea"/>
          <a:cs typeface="+mn-cs"/>
        </a:defRPr>
      </a:lvl3pPr>
      <a:lvl4pPr marL="723900" indent="-17938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-"/>
        <a:defRPr sz="900">
          <a:solidFill>
            <a:srgbClr val="000000"/>
          </a:solidFill>
          <a:latin typeface="+mn-lt"/>
          <a:ea typeface="+mn-ea"/>
          <a:cs typeface="+mn-cs"/>
        </a:defRPr>
      </a:lvl4pPr>
      <a:lvl5pPr marL="885825" indent="-16033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5pPr>
      <a:lvl6pPr marL="13430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6pPr>
      <a:lvl7pPr marL="18002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7pPr>
      <a:lvl8pPr marL="22574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8pPr>
      <a:lvl9pPr marL="27146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4482" name="Picture 2" descr="group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gray">
          <a:xfrm>
            <a:off x="287338" y="6091238"/>
            <a:ext cx="3065462" cy="766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4483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260350"/>
            <a:ext cx="7831137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404484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1052513"/>
            <a:ext cx="8029575" cy="489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728070" name="Rectangle 6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3838" y="6416675"/>
            <a:ext cx="1814512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36000" bIns="0" numCol="1" anchor="t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728071" name="Rectangle 7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b="1">
                <a:latin typeface="+mn-lt"/>
                <a:ea typeface="+mn-ea"/>
              </a:defRPr>
            </a:lvl1pPr>
          </a:lstStyle>
          <a:p>
            <a:pPr>
              <a:defRPr/>
            </a:pPr>
            <a:r>
              <a:rPr lang="fr-FR"/>
              <a:t>P.</a:t>
            </a:r>
            <a:fld id="{175AF883-7A83-441C-AC26-59576A28AA4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28072" name="Rectangle 8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771775" y="6416675"/>
            <a:ext cx="3597275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/>
            </a:lvl1pPr>
          </a:lstStyle>
          <a:p>
            <a:endParaRPr lang="fr-FR"/>
          </a:p>
        </p:txBody>
      </p:sp>
      <p:sp>
        <p:nvSpPr>
          <p:cNvPr id="728074" name="Line 10"/>
          <p:cNvSpPr>
            <a:spLocks noChangeShapeType="1"/>
          </p:cNvSpPr>
          <p:nvPr/>
        </p:nvSpPr>
        <p:spPr bwMode="gray">
          <a:xfrm flipH="1">
            <a:off x="323850" y="6194425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ＭＳ Ｐゴシック" charset="0"/>
            </a:endParaRPr>
          </a:p>
        </p:txBody>
      </p:sp>
      <p:sp>
        <p:nvSpPr>
          <p:cNvPr id="728076" name="Line 12"/>
          <p:cNvSpPr>
            <a:spLocks noChangeShapeType="1"/>
          </p:cNvSpPr>
          <p:nvPr/>
        </p:nvSpPr>
        <p:spPr bwMode="gray">
          <a:xfrm flipH="1">
            <a:off x="323850" y="755650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ＭＳ Ｐゴシック" charset="0"/>
            </a:endParaRPr>
          </a:p>
        </p:txBody>
      </p:sp>
      <p:sp>
        <p:nvSpPr>
          <p:cNvPr id="728077" name="Rectangle 13"/>
          <p:cNvSpPr>
            <a:spLocks noChangeArrowheads="1"/>
          </p:cNvSpPr>
          <p:nvPr/>
        </p:nvSpPr>
        <p:spPr bwMode="gray">
          <a:xfrm>
            <a:off x="8426450" y="6415088"/>
            <a:ext cx="71438" cy="442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/>
          <a:lstStyle/>
          <a:p>
            <a:pPr>
              <a:defRPr/>
            </a:pPr>
            <a:r>
              <a:rPr lang="fr-FR" sz="800" b="1">
                <a:latin typeface="Arial" charset="0"/>
                <a:ea typeface="ＭＳ Ｐゴシック" charset="0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343" r:id="rId1"/>
    <p:sldLayoutId id="2147486344" r:id="rId2"/>
    <p:sldLayoutId id="2147486345" r:id="rId3"/>
    <p:sldLayoutId id="2147486346" r:id="rId4"/>
    <p:sldLayoutId id="2147486347" r:id="rId5"/>
    <p:sldLayoutId id="2147486348" r:id="rId6"/>
    <p:sldLayoutId id="2147486349" r:id="rId7"/>
    <p:sldLayoutId id="2147486350" r:id="rId8"/>
    <p:sldLayoutId id="2147486351" r:id="rId9"/>
    <p:sldLayoutId id="2147486352" r:id="rId10"/>
    <p:sldLayoutId id="2147486353" r:id="rId11"/>
  </p:sldLayoutIdLst>
  <p:hf sldNum="0" hdr="0" ftr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9pPr>
    </p:titleStyle>
    <p:bodyStyle>
      <a:lvl1pPr marL="180975" indent="-180975" algn="l" rtl="0" fontAlgn="base">
        <a:spcBef>
          <a:spcPct val="100000"/>
        </a:spcBef>
        <a:spcAft>
          <a:spcPct val="0"/>
        </a:spcAft>
        <a:buClr>
          <a:srgbClr val="666666"/>
        </a:buClr>
        <a:buFont typeface="Wingdings" pitchFamily="2" charset="2"/>
        <a:buChar char="§"/>
        <a:defRPr sz="1600" b="1">
          <a:solidFill>
            <a:srgbClr val="000000"/>
          </a:solidFill>
          <a:latin typeface="+mn-lt"/>
          <a:ea typeface="+mn-ea"/>
          <a:cs typeface="+mn-cs"/>
        </a:defRPr>
      </a:lvl1pPr>
      <a:lvl2pPr marL="360363" indent="-177800" algn="l" rtl="0" fontAlgn="base">
        <a:spcBef>
          <a:spcPct val="50000"/>
        </a:spcBef>
        <a:spcAft>
          <a:spcPct val="0"/>
        </a:spcAft>
        <a:buChar char="•"/>
        <a:defRPr sz="1300">
          <a:solidFill>
            <a:srgbClr val="000000"/>
          </a:solidFill>
          <a:latin typeface="+mn-lt"/>
          <a:ea typeface="+mn-ea"/>
          <a:cs typeface="+mn-cs"/>
        </a:defRPr>
      </a:lvl2pPr>
      <a:lvl3pPr marL="542925" indent="-180975" algn="l" rtl="0" fontAlgn="base">
        <a:spcBef>
          <a:spcPct val="50000"/>
        </a:spcBef>
        <a:spcAft>
          <a:spcPct val="0"/>
        </a:spcAft>
        <a:buFont typeface="Arial" pitchFamily="34" charset="0"/>
        <a:buChar char="▫"/>
        <a:defRPr sz="1100">
          <a:solidFill>
            <a:srgbClr val="000000"/>
          </a:solidFill>
          <a:latin typeface="+mn-lt"/>
          <a:ea typeface="+mn-ea"/>
          <a:cs typeface="+mn-cs"/>
        </a:defRPr>
      </a:lvl3pPr>
      <a:lvl4pPr marL="723900" indent="-179388" algn="l" rtl="0" fontAlgn="base">
        <a:spcBef>
          <a:spcPct val="50000"/>
        </a:spcBef>
        <a:spcAft>
          <a:spcPct val="0"/>
        </a:spcAft>
        <a:buFont typeface="Arial" pitchFamily="34" charset="0"/>
        <a:buChar char="-"/>
        <a:defRPr sz="900">
          <a:solidFill>
            <a:srgbClr val="000000"/>
          </a:solidFill>
          <a:latin typeface="+mn-lt"/>
          <a:ea typeface="+mn-ea"/>
          <a:cs typeface="+mn-cs"/>
        </a:defRPr>
      </a:lvl4pPr>
      <a:lvl5pPr marL="8858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5pPr>
      <a:lvl6pPr marL="13430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6pPr>
      <a:lvl7pPr marL="18002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7pPr>
      <a:lvl8pPr marL="22574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8pPr>
      <a:lvl9pPr marL="27146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8578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260350"/>
            <a:ext cx="7831137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408579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908050"/>
            <a:ext cx="8029575" cy="4897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1010697" name="Line 9"/>
          <p:cNvSpPr>
            <a:spLocks noChangeShapeType="1"/>
          </p:cNvSpPr>
          <p:nvPr/>
        </p:nvSpPr>
        <p:spPr bwMode="gray">
          <a:xfrm flipH="1">
            <a:off x="323850" y="755650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+mn-ea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354" r:id="rId1"/>
    <p:sldLayoutId id="2147486355" r:id="rId2"/>
    <p:sldLayoutId id="2147486356" r:id="rId3"/>
    <p:sldLayoutId id="2147486357" r:id="rId4"/>
    <p:sldLayoutId id="2147486358" r:id="rId5"/>
    <p:sldLayoutId id="2147486359" r:id="rId6"/>
    <p:sldLayoutId id="2147486360" r:id="rId7"/>
    <p:sldLayoutId id="2147486361" r:id="rId8"/>
    <p:sldLayoutId id="2147486362" r:id="rId9"/>
    <p:sldLayoutId id="2147486363" r:id="rId10"/>
    <p:sldLayoutId id="2147486364" r:id="rId11"/>
  </p:sldLayoutIdLst>
  <p:hf sldNum="0" hdr="0" ftr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9pPr>
    </p:titleStyle>
    <p:bodyStyle>
      <a:lvl1pPr marL="180975" indent="-180975" algn="l" rtl="0" fontAlgn="base">
        <a:spcBef>
          <a:spcPct val="100000"/>
        </a:spcBef>
        <a:spcAft>
          <a:spcPct val="0"/>
        </a:spcAft>
        <a:buClr>
          <a:srgbClr val="666666"/>
        </a:buClr>
        <a:buFont typeface="Wingdings" pitchFamily="2" charset="2"/>
        <a:buChar char="§"/>
        <a:defRPr sz="1600" b="1">
          <a:solidFill>
            <a:srgbClr val="000000"/>
          </a:solidFill>
          <a:latin typeface="+mn-lt"/>
          <a:ea typeface="+mn-ea"/>
          <a:cs typeface="+mn-cs"/>
        </a:defRPr>
      </a:lvl1pPr>
      <a:lvl2pPr marL="360363" indent="-177800" algn="l" rtl="0" fontAlgn="base">
        <a:spcBef>
          <a:spcPct val="50000"/>
        </a:spcBef>
        <a:spcAft>
          <a:spcPct val="0"/>
        </a:spcAft>
        <a:buChar char="•"/>
        <a:defRPr sz="1300">
          <a:solidFill>
            <a:srgbClr val="000000"/>
          </a:solidFill>
          <a:latin typeface="+mn-lt"/>
          <a:cs typeface="+mn-cs"/>
        </a:defRPr>
      </a:lvl2pPr>
      <a:lvl3pPr marL="542925" indent="-180975" algn="l" rtl="0" fontAlgn="base">
        <a:spcBef>
          <a:spcPct val="50000"/>
        </a:spcBef>
        <a:spcAft>
          <a:spcPct val="0"/>
        </a:spcAft>
        <a:buFont typeface="Arial" pitchFamily="34" charset="0"/>
        <a:buChar char="▫"/>
        <a:defRPr sz="1100">
          <a:solidFill>
            <a:srgbClr val="000000"/>
          </a:solidFill>
          <a:latin typeface="+mn-lt"/>
          <a:cs typeface="+mn-cs"/>
        </a:defRPr>
      </a:lvl3pPr>
      <a:lvl4pPr marL="723900" indent="-179388" algn="l" rtl="0" fontAlgn="base">
        <a:spcBef>
          <a:spcPct val="50000"/>
        </a:spcBef>
        <a:spcAft>
          <a:spcPct val="0"/>
        </a:spcAft>
        <a:buFont typeface="Arial" pitchFamily="34" charset="0"/>
        <a:buChar char="-"/>
        <a:defRPr sz="900">
          <a:solidFill>
            <a:srgbClr val="000000"/>
          </a:solidFill>
          <a:latin typeface="+mn-lt"/>
          <a:cs typeface="+mn-cs"/>
        </a:defRPr>
      </a:lvl4pPr>
      <a:lvl5pPr marL="8858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5pPr>
      <a:lvl6pPr marL="13430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6pPr>
      <a:lvl7pPr marL="18002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7pPr>
      <a:lvl8pPr marL="22574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8pPr>
      <a:lvl9pPr marL="27146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62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260350"/>
            <a:ext cx="7831137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450563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908050"/>
            <a:ext cx="8029575" cy="4897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10244" name="Line 9"/>
          <p:cNvSpPr>
            <a:spLocks noChangeShapeType="1"/>
          </p:cNvSpPr>
          <p:nvPr/>
        </p:nvSpPr>
        <p:spPr bwMode="gray">
          <a:xfrm flipH="1">
            <a:off x="323850" y="755650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+mn-ea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365" r:id="rId1"/>
    <p:sldLayoutId id="2147486366" r:id="rId2"/>
    <p:sldLayoutId id="2147486367" r:id="rId3"/>
    <p:sldLayoutId id="2147486368" r:id="rId4"/>
    <p:sldLayoutId id="2147486369" r:id="rId5"/>
    <p:sldLayoutId id="2147486370" r:id="rId6"/>
    <p:sldLayoutId id="2147486371" r:id="rId7"/>
    <p:sldLayoutId id="2147486372" r:id="rId8"/>
    <p:sldLayoutId id="2147486373" r:id="rId9"/>
    <p:sldLayoutId id="2147486374" r:id="rId10"/>
    <p:sldLayoutId id="2147486375" r:id="rId11"/>
  </p:sldLayoutIdLst>
  <p:hf sldNum="0" hdr="0" ftr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ea typeface="ＭＳ Ｐゴシック" pitchFamily="34" charset="-128"/>
          <a:cs typeface="Arial" pitchFamily="34" charset="0"/>
        </a:defRPr>
      </a:lvl9pPr>
    </p:titleStyle>
    <p:bodyStyle>
      <a:lvl1pPr marL="180975" indent="-180975" algn="l" rtl="0" fontAlgn="base">
        <a:spcBef>
          <a:spcPct val="100000"/>
        </a:spcBef>
        <a:spcAft>
          <a:spcPct val="0"/>
        </a:spcAft>
        <a:buClr>
          <a:srgbClr val="666666"/>
        </a:buClr>
        <a:buFont typeface="Wingdings" pitchFamily="2" charset="2"/>
        <a:buChar char="§"/>
        <a:defRPr sz="1600" b="1">
          <a:solidFill>
            <a:srgbClr val="000000"/>
          </a:solidFill>
          <a:latin typeface="+mn-lt"/>
          <a:ea typeface="+mn-ea"/>
          <a:cs typeface="+mn-cs"/>
        </a:defRPr>
      </a:lvl1pPr>
      <a:lvl2pPr marL="360363" indent="-177800" algn="l" rtl="0" fontAlgn="base">
        <a:spcBef>
          <a:spcPct val="50000"/>
        </a:spcBef>
        <a:spcAft>
          <a:spcPct val="0"/>
        </a:spcAft>
        <a:buChar char="•"/>
        <a:defRPr sz="1300">
          <a:solidFill>
            <a:srgbClr val="000000"/>
          </a:solidFill>
          <a:latin typeface="+mn-lt"/>
          <a:ea typeface="+mn-ea"/>
          <a:cs typeface="+mn-cs"/>
        </a:defRPr>
      </a:lvl2pPr>
      <a:lvl3pPr marL="542925" indent="-180975" algn="l" rtl="0" fontAlgn="base">
        <a:spcBef>
          <a:spcPct val="50000"/>
        </a:spcBef>
        <a:spcAft>
          <a:spcPct val="0"/>
        </a:spcAft>
        <a:buFont typeface="Arial" pitchFamily="34" charset="0"/>
        <a:buChar char="▫"/>
        <a:defRPr sz="1100">
          <a:solidFill>
            <a:srgbClr val="000000"/>
          </a:solidFill>
          <a:latin typeface="+mn-lt"/>
          <a:ea typeface="+mn-ea"/>
          <a:cs typeface="+mn-cs"/>
        </a:defRPr>
      </a:lvl3pPr>
      <a:lvl4pPr marL="723900" indent="-179388" algn="l" rtl="0" fontAlgn="base">
        <a:spcBef>
          <a:spcPct val="50000"/>
        </a:spcBef>
        <a:spcAft>
          <a:spcPct val="0"/>
        </a:spcAft>
        <a:buFont typeface="Arial" pitchFamily="34" charset="0"/>
        <a:buChar char="-"/>
        <a:defRPr sz="900">
          <a:solidFill>
            <a:srgbClr val="000000"/>
          </a:solidFill>
          <a:latin typeface="+mn-lt"/>
          <a:ea typeface="+mn-ea"/>
          <a:cs typeface="+mn-cs"/>
        </a:defRPr>
      </a:lvl4pPr>
      <a:lvl5pPr marL="8858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5pPr>
      <a:lvl6pPr marL="13430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6pPr>
      <a:lvl7pPr marL="18002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7pPr>
      <a:lvl8pPr marL="22574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8pPr>
      <a:lvl9pPr marL="27146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18" descr="group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gray">
          <a:xfrm>
            <a:off x="287338" y="6091238"/>
            <a:ext cx="3065462" cy="766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19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1125538"/>
            <a:ext cx="8029575" cy="57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2544763"/>
            <a:ext cx="8029575" cy="3405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362501" name="Line 5"/>
          <p:cNvSpPr>
            <a:spLocks noChangeShapeType="1"/>
          </p:cNvSpPr>
          <p:nvPr/>
        </p:nvSpPr>
        <p:spPr bwMode="gray">
          <a:xfrm flipV="1">
            <a:off x="4572000" y="260350"/>
            <a:ext cx="0" cy="504825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ＭＳ Ｐゴシック" charset="0"/>
            </a:endParaRPr>
          </a:p>
        </p:txBody>
      </p:sp>
      <p:sp>
        <p:nvSpPr>
          <p:cNvPr id="362502" name="Line 6"/>
          <p:cNvSpPr>
            <a:spLocks noChangeShapeType="1"/>
          </p:cNvSpPr>
          <p:nvPr/>
        </p:nvSpPr>
        <p:spPr bwMode="gray">
          <a:xfrm flipV="1">
            <a:off x="4572000" y="1700213"/>
            <a:ext cx="0" cy="687387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ＭＳ Ｐゴシック" charset="0"/>
            </a:endParaRPr>
          </a:p>
        </p:txBody>
      </p:sp>
      <p:sp>
        <p:nvSpPr>
          <p:cNvPr id="362515" name="Rectangle 19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3838" y="6416675"/>
            <a:ext cx="1814512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36000" bIns="0" numCol="1" anchor="t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362516" name="Rectangle 20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b="1">
                <a:latin typeface="Arial" charset="0"/>
                <a:ea typeface="ＭＳ Ｐゴシック" charset="-128"/>
              </a:defRPr>
            </a:lvl1pPr>
          </a:lstStyle>
          <a:p>
            <a:pPr>
              <a:defRPr/>
            </a:pPr>
            <a:r>
              <a:rPr lang="fr-FR"/>
              <a:t>P.</a:t>
            </a:r>
            <a:fld id="{4B43CDAF-4541-4F21-9669-5FAA24EF5DD5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362517" name="Rectangle 21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771775" y="6416675"/>
            <a:ext cx="3597275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/>
            </a:lvl1pPr>
          </a:lstStyle>
          <a:p>
            <a:endParaRPr lang="fr-FR"/>
          </a:p>
        </p:txBody>
      </p:sp>
      <p:sp>
        <p:nvSpPr>
          <p:cNvPr id="362518" name="Rectangle 22"/>
          <p:cNvSpPr>
            <a:spLocks noChangeArrowheads="1"/>
          </p:cNvSpPr>
          <p:nvPr/>
        </p:nvSpPr>
        <p:spPr bwMode="gray">
          <a:xfrm>
            <a:off x="8426450" y="6415088"/>
            <a:ext cx="71438" cy="442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/>
          <a:lstStyle/>
          <a:p>
            <a:pPr>
              <a:defRPr/>
            </a:pPr>
            <a:r>
              <a:rPr lang="fr-FR" sz="800" b="1">
                <a:latin typeface="Arial" charset="0"/>
                <a:ea typeface="ＭＳ Ｐゴシック" charset="0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091" r:id="rId1"/>
    <p:sldLayoutId id="2147486090" r:id="rId2"/>
    <p:sldLayoutId id="2147486089" r:id="rId3"/>
    <p:sldLayoutId id="2147486088" r:id="rId4"/>
    <p:sldLayoutId id="2147486087" r:id="rId5"/>
    <p:sldLayoutId id="2147486086" r:id="rId6"/>
    <p:sldLayoutId id="2147486085" r:id="rId7"/>
    <p:sldLayoutId id="2147486084" r:id="rId8"/>
    <p:sldLayoutId id="2147486083" r:id="rId9"/>
    <p:sldLayoutId id="2147486082" r:id="rId10"/>
    <p:sldLayoutId id="2147486081" r:id="rId11"/>
  </p:sldLayoutIdLst>
  <p:hf sldNum="0" hdr="0" ftr="0"/>
  <p:txStyles>
    <p:titleStyle>
      <a:lvl1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+mj-lt"/>
          <a:ea typeface="ＭＳ Ｐゴシック" pitchFamily="34" charset="-128"/>
          <a:cs typeface="+mj-cs"/>
        </a:defRPr>
      </a:lvl1pPr>
      <a:lvl2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charset="0"/>
          <a:ea typeface="ＭＳ Ｐゴシック" pitchFamily="34" charset="-128"/>
          <a:cs typeface="Arial" charset="0"/>
        </a:defRPr>
      </a:lvl2pPr>
      <a:lvl3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charset="0"/>
          <a:ea typeface="ＭＳ Ｐゴシック" pitchFamily="34" charset="-128"/>
          <a:cs typeface="Arial" charset="0"/>
        </a:defRPr>
      </a:lvl3pPr>
      <a:lvl4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charset="0"/>
          <a:ea typeface="ＭＳ Ｐゴシック" pitchFamily="34" charset="-128"/>
          <a:cs typeface="Arial" charset="0"/>
        </a:defRPr>
      </a:lvl4pPr>
      <a:lvl5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charset="0"/>
          <a:ea typeface="ＭＳ Ｐゴシック" pitchFamily="34" charset="-128"/>
          <a:cs typeface="Arial" charset="0"/>
        </a:defRPr>
      </a:lvl5pPr>
      <a:lvl6pPr marL="4572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charset="0"/>
          <a:ea typeface="ＭＳ Ｐゴシック" charset="0"/>
          <a:cs typeface="Arial" charset="0"/>
        </a:defRPr>
      </a:lvl6pPr>
      <a:lvl7pPr marL="9144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charset="0"/>
          <a:ea typeface="ＭＳ Ｐゴシック" charset="0"/>
          <a:cs typeface="Arial" charset="0"/>
        </a:defRPr>
      </a:lvl7pPr>
      <a:lvl8pPr marL="13716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charset="0"/>
          <a:ea typeface="ＭＳ Ｐゴシック" charset="0"/>
          <a:cs typeface="Arial" charset="0"/>
        </a:defRPr>
      </a:lvl8pPr>
      <a:lvl9pPr marL="18288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charset="0"/>
          <a:ea typeface="ＭＳ Ｐゴシック" charset="0"/>
          <a:cs typeface="Arial" charset="0"/>
        </a:defRPr>
      </a:lvl9pPr>
    </p:titleStyle>
    <p:bodyStyle>
      <a:lvl1pPr marL="4763" indent="-4763" algn="ctr" rtl="0" eaLnBrk="0" fontAlgn="base" hangingPunct="0">
        <a:spcBef>
          <a:spcPct val="80000"/>
        </a:spcBef>
        <a:spcAft>
          <a:spcPct val="20000"/>
        </a:spcAft>
        <a:buFont typeface="Arial" pitchFamily="34" charset="0"/>
        <a:defRPr sz="1300" b="1">
          <a:solidFill>
            <a:srgbClr val="E60028"/>
          </a:solidFill>
          <a:latin typeface="+mn-lt"/>
          <a:ea typeface="ＭＳ Ｐゴシック" pitchFamily="34" charset="-128"/>
          <a:cs typeface="+mn-cs"/>
        </a:defRPr>
      </a:lvl1pPr>
      <a:lvl2pPr marL="12700" indent="-6350" algn="ctr" rtl="0" eaLnBrk="0" fontAlgn="base" hangingPunct="0">
        <a:lnSpc>
          <a:spcPct val="140000"/>
        </a:lnSpc>
        <a:spcBef>
          <a:spcPct val="0"/>
        </a:spcBef>
        <a:spcAft>
          <a:spcPct val="20000"/>
        </a:spcAft>
        <a:defRPr sz="900" b="1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2pPr>
      <a:lvl3pPr marL="15875" indent="-1588" algn="ctr" rtl="0" eaLnBrk="0" fontAlgn="base" hangingPunct="0">
        <a:spcBef>
          <a:spcPct val="0"/>
        </a:spcBef>
        <a:spcAft>
          <a:spcPct val="20000"/>
        </a:spcAft>
        <a:buSzPct val="80000"/>
        <a:buFont typeface="Wingdings" pitchFamily="2" charset="2"/>
        <a:defRPr sz="800" b="1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3pPr>
      <a:lvl4pPr marL="20638" indent="-3175" algn="ctr" rtl="0" eaLnBrk="0" fontAlgn="base" hangingPunct="0">
        <a:spcBef>
          <a:spcPct val="0"/>
        </a:spcBef>
        <a:spcAft>
          <a:spcPct val="40000"/>
        </a:spcAft>
        <a:defRPr sz="7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4pPr>
      <a:lvl5pPr marL="25400" indent="-3175" algn="ctr" rtl="0" eaLnBrk="0" fontAlgn="base" hangingPunct="0">
        <a:spcBef>
          <a:spcPct val="0"/>
        </a:spcBef>
        <a:spcAft>
          <a:spcPct val="20000"/>
        </a:spcAft>
        <a:buFont typeface="Arial" pitchFamily="34" charset="0"/>
        <a:defRPr sz="6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5pPr>
      <a:lvl6pPr marL="482600" indent="-3175" algn="ctr" rtl="0" fontAlgn="base">
        <a:spcBef>
          <a:spcPct val="0"/>
        </a:spcBef>
        <a:spcAft>
          <a:spcPct val="20000"/>
        </a:spcAft>
        <a:buFont typeface="Arial" charset="0"/>
        <a:defRPr sz="600">
          <a:solidFill>
            <a:srgbClr val="000000"/>
          </a:solidFill>
          <a:latin typeface="+mn-lt"/>
          <a:ea typeface="Arial" charset="0"/>
          <a:cs typeface="+mn-cs"/>
        </a:defRPr>
      </a:lvl6pPr>
      <a:lvl7pPr marL="939800" indent="-3175" algn="ctr" rtl="0" fontAlgn="base">
        <a:spcBef>
          <a:spcPct val="0"/>
        </a:spcBef>
        <a:spcAft>
          <a:spcPct val="20000"/>
        </a:spcAft>
        <a:buFont typeface="Arial" charset="0"/>
        <a:defRPr sz="600">
          <a:solidFill>
            <a:srgbClr val="000000"/>
          </a:solidFill>
          <a:latin typeface="+mn-lt"/>
          <a:ea typeface="Arial" charset="0"/>
          <a:cs typeface="+mn-cs"/>
        </a:defRPr>
      </a:lvl7pPr>
      <a:lvl8pPr marL="1397000" indent="-3175" algn="ctr" rtl="0" fontAlgn="base">
        <a:spcBef>
          <a:spcPct val="0"/>
        </a:spcBef>
        <a:spcAft>
          <a:spcPct val="20000"/>
        </a:spcAft>
        <a:buFont typeface="Arial" charset="0"/>
        <a:defRPr sz="600">
          <a:solidFill>
            <a:srgbClr val="000000"/>
          </a:solidFill>
          <a:latin typeface="+mn-lt"/>
          <a:ea typeface="Arial" charset="0"/>
          <a:cs typeface="+mn-cs"/>
        </a:defRPr>
      </a:lvl8pPr>
      <a:lvl9pPr marL="1854200" indent="-3175" algn="ctr" rtl="0" fontAlgn="base">
        <a:spcBef>
          <a:spcPct val="0"/>
        </a:spcBef>
        <a:spcAft>
          <a:spcPct val="20000"/>
        </a:spcAft>
        <a:buFont typeface="Arial" charset="0"/>
        <a:defRPr sz="600">
          <a:solidFill>
            <a:srgbClr val="000000"/>
          </a:solidFill>
          <a:latin typeface="+mn-lt"/>
          <a:ea typeface="Arial" charset="0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1826" name="Picture 2" descr="group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gray">
          <a:xfrm>
            <a:off x="287338" y="6091238"/>
            <a:ext cx="3065462" cy="766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61827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260350"/>
            <a:ext cx="7831137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 STYLE DU TITRE</a:t>
            </a:r>
          </a:p>
        </p:txBody>
      </p:sp>
      <p:sp>
        <p:nvSpPr>
          <p:cNvPr id="461828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1052513"/>
            <a:ext cx="8029575" cy="489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  <a:p>
            <a:pPr lvl="4"/>
            <a:r>
              <a:rPr lang="fr-FR" altLang="fr-FR" smtClean="0"/>
              <a:t>Cinquième niveau</a:t>
            </a:r>
          </a:p>
        </p:txBody>
      </p:sp>
      <p:sp>
        <p:nvSpPr>
          <p:cNvPr id="728070" name="Rectangle 6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3838" y="6416675"/>
            <a:ext cx="1814512" cy="441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36000" bIns="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728071" name="Rectangle 7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b="1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fr-FR"/>
              <a:t>P.</a:t>
            </a:r>
            <a:fld id="{9997AF7E-B744-4EE5-9325-4696629CB33D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28072" name="Rectangle 8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771775" y="6416675"/>
            <a:ext cx="3597275" cy="441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>
                <a:cs typeface="+mn-cs"/>
              </a:defRPr>
            </a:lvl1pPr>
          </a:lstStyle>
          <a:p>
            <a:endParaRPr lang="fr-FR"/>
          </a:p>
        </p:txBody>
      </p:sp>
      <p:sp>
        <p:nvSpPr>
          <p:cNvPr id="1032" name="Line 10"/>
          <p:cNvSpPr>
            <a:spLocks noChangeShapeType="1"/>
          </p:cNvSpPr>
          <p:nvPr/>
        </p:nvSpPr>
        <p:spPr bwMode="gray">
          <a:xfrm flipH="1">
            <a:off x="323850" y="6194425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 sz="1600"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1033" name="Line 12"/>
          <p:cNvSpPr>
            <a:spLocks noChangeShapeType="1"/>
          </p:cNvSpPr>
          <p:nvPr/>
        </p:nvSpPr>
        <p:spPr bwMode="gray">
          <a:xfrm flipH="1">
            <a:off x="323850" y="755650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 sz="1600"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1034" name="Rectangle 13"/>
          <p:cNvSpPr>
            <a:spLocks noChangeArrowheads="1"/>
          </p:cNvSpPr>
          <p:nvPr/>
        </p:nvSpPr>
        <p:spPr bwMode="gray">
          <a:xfrm>
            <a:off x="8426450" y="6415088"/>
            <a:ext cx="71438" cy="4429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rgbClr val="000000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rgbClr val="000000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rgbClr val="000000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rgbClr val="000000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rgbClr val="000000"/>
                </a:solidFill>
                <a:latin typeface="Calibri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Calibri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Calibri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Calibri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fr-FR" altLang="fr-FR" sz="800" b="1" smtClean="0">
                <a:latin typeface="Arial" charset="0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376" r:id="rId1"/>
    <p:sldLayoutId id="2147486377" r:id="rId2"/>
    <p:sldLayoutId id="2147486378" r:id="rId3"/>
    <p:sldLayoutId id="2147486379" r:id="rId4"/>
    <p:sldLayoutId id="2147486380" r:id="rId5"/>
    <p:sldLayoutId id="2147486381" r:id="rId6"/>
    <p:sldLayoutId id="2147486382" r:id="rId7"/>
    <p:sldLayoutId id="2147486383" r:id="rId8"/>
    <p:sldLayoutId id="2147486384" r:id="rId9"/>
    <p:sldLayoutId id="2147486385" r:id="rId10"/>
    <p:sldLayoutId id="2147486386" r:id="rId11"/>
  </p:sldLayoutIdLst>
  <p:hf sldNum="0" hdr="0" ftr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9pPr>
    </p:titleStyle>
    <p:bodyStyle>
      <a:lvl1pPr marL="180975" indent="-180975" algn="l" rtl="0" fontAlgn="base">
        <a:spcBef>
          <a:spcPct val="100000"/>
        </a:spcBef>
        <a:spcAft>
          <a:spcPct val="0"/>
        </a:spcAft>
        <a:buClr>
          <a:srgbClr val="666666"/>
        </a:buClr>
        <a:buFont typeface="Wingdings" pitchFamily="2" charset="2"/>
        <a:buChar char="§"/>
        <a:defRPr sz="1600" b="1">
          <a:solidFill>
            <a:srgbClr val="000000"/>
          </a:solidFill>
          <a:latin typeface="+mn-lt"/>
          <a:ea typeface="+mn-ea"/>
          <a:cs typeface="+mn-cs"/>
        </a:defRPr>
      </a:lvl1pPr>
      <a:lvl2pPr marL="360363" indent="-177800" algn="l" rtl="0" fontAlgn="base">
        <a:spcBef>
          <a:spcPct val="50000"/>
        </a:spcBef>
        <a:spcAft>
          <a:spcPct val="0"/>
        </a:spcAft>
        <a:buChar char="•"/>
        <a:defRPr sz="1300">
          <a:solidFill>
            <a:srgbClr val="000000"/>
          </a:solidFill>
          <a:latin typeface="+mn-lt"/>
          <a:cs typeface="+mn-cs"/>
        </a:defRPr>
      </a:lvl2pPr>
      <a:lvl3pPr marL="542925" indent="-180975" algn="l" rtl="0" fontAlgn="base">
        <a:spcBef>
          <a:spcPct val="50000"/>
        </a:spcBef>
        <a:spcAft>
          <a:spcPct val="0"/>
        </a:spcAft>
        <a:buFont typeface="Arial" pitchFamily="34" charset="0"/>
        <a:buChar char="▫"/>
        <a:defRPr sz="1100">
          <a:solidFill>
            <a:srgbClr val="000000"/>
          </a:solidFill>
          <a:latin typeface="+mn-lt"/>
          <a:cs typeface="+mn-cs"/>
        </a:defRPr>
      </a:lvl3pPr>
      <a:lvl4pPr marL="723900" indent="-179388" algn="l" rtl="0" fontAlgn="base">
        <a:spcBef>
          <a:spcPct val="50000"/>
        </a:spcBef>
        <a:spcAft>
          <a:spcPct val="0"/>
        </a:spcAft>
        <a:buFont typeface="Arial" pitchFamily="34" charset="0"/>
        <a:buChar char="-"/>
        <a:defRPr sz="900">
          <a:solidFill>
            <a:srgbClr val="000000"/>
          </a:solidFill>
          <a:latin typeface="+mn-lt"/>
          <a:cs typeface="+mn-cs"/>
        </a:defRPr>
      </a:lvl4pPr>
      <a:lvl5pPr marL="8858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5pPr>
      <a:lvl6pPr marL="13430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6pPr>
      <a:lvl7pPr marL="18002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7pPr>
      <a:lvl8pPr marL="22574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8pPr>
      <a:lvl9pPr marL="27146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7970" name="Picture 2" descr="group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gray">
          <a:xfrm>
            <a:off x="287338" y="6091238"/>
            <a:ext cx="3065462" cy="766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67971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260350"/>
            <a:ext cx="7831137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 STYLE DU TITRE</a:t>
            </a:r>
          </a:p>
        </p:txBody>
      </p:sp>
      <p:sp>
        <p:nvSpPr>
          <p:cNvPr id="467972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1052513"/>
            <a:ext cx="8029575" cy="489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  <a:p>
            <a:pPr lvl="4"/>
            <a:r>
              <a:rPr lang="fr-FR" altLang="fr-FR" smtClean="0"/>
              <a:t>Cinquième niveau</a:t>
            </a:r>
          </a:p>
        </p:txBody>
      </p:sp>
      <p:sp>
        <p:nvSpPr>
          <p:cNvPr id="728070" name="Rectangle 6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3838" y="6416675"/>
            <a:ext cx="1814512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36000" bIns="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 dirty="0"/>
          </a:p>
        </p:txBody>
      </p:sp>
      <p:sp>
        <p:nvSpPr>
          <p:cNvPr id="728071" name="Rectangle 7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b="1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fr-FR"/>
              <a:t>P.</a:t>
            </a:r>
            <a:fld id="{09EBBA52-6FDE-487B-AA4B-D09F2657A330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28072" name="Rectangle 8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771775" y="6416675"/>
            <a:ext cx="3597275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>
                <a:cs typeface="+mn-cs"/>
              </a:defRPr>
            </a:lvl1pPr>
          </a:lstStyle>
          <a:p>
            <a:endParaRPr lang="fr-FR"/>
          </a:p>
        </p:txBody>
      </p:sp>
      <p:sp>
        <p:nvSpPr>
          <p:cNvPr id="467976" name="Line 10"/>
          <p:cNvSpPr>
            <a:spLocks noChangeShapeType="1"/>
          </p:cNvSpPr>
          <p:nvPr/>
        </p:nvSpPr>
        <p:spPr bwMode="gray">
          <a:xfrm flipH="1">
            <a:off x="323850" y="6194425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endParaRPr lang="fr-FR"/>
          </a:p>
        </p:txBody>
      </p:sp>
      <p:sp>
        <p:nvSpPr>
          <p:cNvPr id="467977" name="Line 12"/>
          <p:cNvSpPr>
            <a:spLocks noChangeShapeType="1"/>
          </p:cNvSpPr>
          <p:nvPr/>
        </p:nvSpPr>
        <p:spPr bwMode="gray">
          <a:xfrm flipH="1">
            <a:off x="323850" y="755650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endParaRPr lang="fr-FR"/>
          </a:p>
        </p:txBody>
      </p:sp>
      <p:sp>
        <p:nvSpPr>
          <p:cNvPr id="1034" name="Rectangle 13"/>
          <p:cNvSpPr>
            <a:spLocks noChangeArrowheads="1"/>
          </p:cNvSpPr>
          <p:nvPr/>
        </p:nvSpPr>
        <p:spPr bwMode="gray">
          <a:xfrm>
            <a:off x="8426450" y="6415088"/>
            <a:ext cx="71438" cy="442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000">
                <a:solidFill>
                  <a:srgbClr val="000000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000">
                <a:solidFill>
                  <a:srgbClr val="000000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000">
                <a:solidFill>
                  <a:srgbClr val="000000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000">
                <a:solidFill>
                  <a:srgbClr val="000000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000">
                <a:solidFill>
                  <a:srgbClr val="000000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0000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0000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0000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0000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fr-FR" altLang="fr-FR" sz="800" b="1" smtClean="0"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387" r:id="rId1"/>
    <p:sldLayoutId id="2147486388" r:id="rId2"/>
    <p:sldLayoutId id="2147486389" r:id="rId3"/>
    <p:sldLayoutId id="2147486390" r:id="rId4"/>
    <p:sldLayoutId id="2147486391" r:id="rId5"/>
    <p:sldLayoutId id="2147486392" r:id="rId6"/>
    <p:sldLayoutId id="2147486393" r:id="rId7"/>
    <p:sldLayoutId id="2147486394" r:id="rId8"/>
    <p:sldLayoutId id="2147486395" r:id="rId9"/>
    <p:sldLayoutId id="2147486396" r:id="rId10"/>
    <p:sldLayoutId id="2147486397" r:id="rId11"/>
  </p:sldLayoutIdLst>
  <p:hf sldNum="0" hdr="0" ftr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9pPr>
    </p:titleStyle>
    <p:bodyStyle>
      <a:lvl1pPr marL="180975" indent="-180975" algn="l" rtl="0" fontAlgn="base">
        <a:spcBef>
          <a:spcPct val="100000"/>
        </a:spcBef>
        <a:spcAft>
          <a:spcPct val="0"/>
        </a:spcAft>
        <a:buClr>
          <a:srgbClr val="666666"/>
        </a:buClr>
        <a:buFont typeface="Wingdings" pitchFamily="2" charset="2"/>
        <a:buChar char="§"/>
        <a:defRPr sz="1600" b="1">
          <a:solidFill>
            <a:srgbClr val="000000"/>
          </a:solidFill>
          <a:latin typeface="+mn-lt"/>
          <a:ea typeface="+mn-ea"/>
          <a:cs typeface="+mn-cs"/>
        </a:defRPr>
      </a:lvl1pPr>
      <a:lvl2pPr marL="538163" indent="-177800" algn="l" rtl="0" fontAlgn="base">
        <a:spcBef>
          <a:spcPct val="50000"/>
        </a:spcBef>
        <a:spcAft>
          <a:spcPct val="0"/>
        </a:spcAft>
        <a:buChar char="•"/>
        <a:defRPr sz="1300">
          <a:solidFill>
            <a:srgbClr val="000000"/>
          </a:solidFill>
          <a:latin typeface="+mn-lt"/>
          <a:cs typeface="+mn-cs"/>
        </a:defRPr>
      </a:lvl2pPr>
      <a:lvl3pPr marL="898525" indent="-180975" algn="l" rtl="0" fontAlgn="base">
        <a:spcBef>
          <a:spcPct val="50000"/>
        </a:spcBef>
        <a:spcAft>
          <a:spcPct val="0"/>
        </a:spcAft>
        <a:buFont typeface="Arial" pitchFamily="34" charset="0"/>
        <a:buChar char="▫"/>
        <a:defRPr sz="1100">
          <a:solidFill>
            <a:srgbClr val="000000"/>
          </a:solidFill>
          <a:latin typeface="+mn-lt"/>
          <a:cs typeface="+mn-cs"/>
        </a:defRPr>
      </a:lvl3pPr>
      <a:lvl4pPr marL="1257300" indent="-179388" algn="l" rtl="0" fontAlgn="base">
        <a:spcBef>
          <a:spcPct val="50000"/>
        </a:spcBef>
        <a:spcAft>
          <a:spcPct val="0"/>
        </a:spcAft>
        <a:buFont typeface="Arial" pitchFamily="34" charset="0"/>
        <a:buChar char="-"/>
        <a:defRPr sz="900">
          <a:solidFill>
            <a:srgbClr val="000000"/>
          </a:solidFill>
          <a:latin typeface="+mn-lt"/>
          <a:cs typeface="+mn-cs"/>
        </a:defRPr>
      </a:lvl4pPr>
      <a:lvl5pPr marL="15970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5pPr>
      <a:lvl6pPr marL="20542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6pPr>
      <a:lvl7pPr marL="25114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7pPr>
      <a:lvl8pPr marL="29686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8pPr>
      <a:lvl9pPr marL="34258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3090" name="Picture 2" descr="group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gray">
          <a:xfrm>
            <a:off x="287338" y="6091238"/>
            <a:ext cx="3065462" cy="766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73091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260350"/>
            <a:ext cx="7831137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473092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1052513"/>
            <a:ext cx="8029575" cy="489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728070" name="Rectangle 6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3838" y="6416675"/>
            <a:ext cx="1814512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36000" bIns="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fr-FR" smtClean="0"/>
              <a:t>22/04/2015</a:t>
            </a:r>
            <a:endParaRPr lang="fr-FR"/>
          </a:p>
        </p:txBody>
      </p:sp>
      <p:sp>
        <p:nvSpPr>
          <p:cNvPr id="728071" name="Rectangle 7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b="1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fr-FR"/>
              <a:t>P.</a:t>
            </a:r>
            <a:fld id="{8E9CED41-1AA2-41FE-8C84-A7DA536ED863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28072" name="Rectangle 8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771775" y="6416675"/>
            <a:ext cx="3597275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>
                <a:cs typeface="+mn-cs"/>
              </a:defRPr>
            </a:lvl1pPr>
          </a:lstStyle>
          <a:p>
            <a:endParaRPr lang="fr-FR"/>
          </a:p>
        </p:txBody>
      </p:sp>
      <p:sp>
        <p:nvSpPr>
          <p:cNvPr id="473096" name="Line 10"/>
          <p:cNvSpPr>
            <a:spLocks noChangeShapeType="1"/>
          </p:cNvSpPr>
          <p:nvPr/>
        </p:nvSpPr>
        <p:spPr bwMode="gray">
          <a:xfrm flipH="1">
            <a:off x="323850" y="6194425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endParaRPr lang="fr-FR"/>
          </a:p>
        </p:txBody>
      </p:sp>
      <p:sp>
        <p:nvSpPr>
          <p:cNvPr id="473097" name="Line 12"/>
          <p:cNvSpPr>
            <a:spLocks noChangeShapeType="1"/>
          </p:cNvSpPr>
          <p:nvPr/>
        </p:nvSpPr>
        <p:spPr bwMode="gray">
          <a:xfrm flipH="1">
            <a:off x="323850" y="755650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endParaRPr lang="fr-FR"/>
          </a:p>
        </p:txBody>
      </p:sp>
      <p:sp>
        <p:nvSpPr>
          <p:cNvPr id="473098" name="Rectangle 13"/>
          <p:cNvSpPr>
            <a:spLocks noChangeArrowheads="1"/>
          </p:cNvSpPr>
          <p:nvPr/>
        </p:nvSpPr>
        <p:spPr bwMode="gray">
          <a:xfrm>
            <a:off x="8426450" y="6415088"/>
            <a:ext cx="71438" cy="4429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r>
              <a:rPr lang="fr-FR" sz="800" b="1">
                <a:cs typeface="Arial" pitchFamily="34" charset="0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398" r:id="rId1"/>
    <p:sldLayoutId id="2147486399" r:id="rId2"/>
    <p:sldLayoutId id="2147486400" r:id="rId3"/>
    <p:sldLayoutId id="2147486401" r:id="rId4"/>
    <p:sldLayoutId id="2147486402" r:id="rId5"/>
    <p:sldLayoutId id="2147486403" r:id="rId6"/>
    <p:sldLayoutId id="2147486404" r:id="rId7"/>
    <p:sldLayoutId id="2147486405" r:id="rId8"/>
    <p:sldLayoutId id="2147486406" r:id="rId9"/>
    <p:sldLayoutId id="2147486407" r:id="rId10"/>
    <p:sldLayoutId id="2147486408" r:id="rId11"/>
  </p:sldLayoutIdLst>
  <p:hf sldNum="0" hdr="0" ftr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9pPr>
    </p:titleStyle>
    <p:bodyStyle>
      <a:lvl1pPr marL="180975" indent="-180975" algn="l" rtl="0" fontAlgn="base">
        <a:spcBef>
          <a:spcPct val="100000"/>
        </a:spcBef>
        <a:spcAft>
          <a:spcPct val="0"/>
        </a:spcAft>
        <a:buClr>
          <a:srgbClr val="666666"/>
        </a:buClr>
        <a:buFont typeface="Wingdings" pitchFamily="2" charset="2"/>
        <a:buChar char="§"/>
        <a:defRPr sz="1600" b="1">
          <a:solidFill>
            <a:srgbClr val="000000"/>
          </a:solidFill>
          <a:latin typeface="+mn-lt"/>
          <a:ea typeface="+mn-ea"/>
          <a:cs typeface="+mn-cs"/>
        </a:defRPr>
      </a:lvl1pPr>
      <a:lvl2pPr marL="360363" indent="-177800" algn="l" rtl="0" fontAlgn="base">
        <a:spcBef>
          <a:spcPct val="50000"/>
        </a:spcBef>
        <a:spcAft>
          <a:spcPct val="0"/>
        </a:spcAft>
        <a:buChar char="•"/>
        <a:defRPr sz="1300">
          <a:solidFill>
            <a:srgbClr val="000000"/>
          </a:solidFill>
          <a:latin typeface="+mn-lt"/>
          <a:cs typeface="+mn-cs"/>
        </a:defRPr>
      </a:lvl2pPr>
      <a:lvl3pPr marL="542925" indent="-180975" algn="l" rtl="0" fontAlgn="base">
        <a:spcBef>
          <a:spcPct val="50000"/>
        </a:spcBef>
        <a:spcAft>
          <a:spcPct val="0"/>
        </a:spcAft>
        <a:buFont typeface="Arial" pitchFamily="34" charset="0"/>
        <a:buChar char="▫"/>
        <a:defRPr sz="1100">
          <a:solidFill>
            <a:srgbClr val="000000"/>
          </a:solidFill>
          <a:latin typeface="+mn-lt"/>
          <a:cs typeface="+mn-cs"/>
        </a:defRPr>
      </a:lvl3pPr>
      <a:lvl4pPr marL="723900" indent="-179388" algn="l" rtl="0" fontAlgn="base">
        <a:spcBef>
          <a:spcPct val="50000"/>
        </a:spcBef>
        <a:spcAft>
          <a:spcPct val="0"/>
        </a:spcAft>
        <a:buFont typeface="Arial" pitchFamily="34" charset="0"/>
        <a:buChar char="-"/>
        <a:defRPr sz="900">
          <a:solidFill>
            <a:srgbClr val="000000"/>
          </a:solidFill>
          <a:latin typeface="+mn-lt"/>
          <a:cs typeface="+mn-cs"/>
        </a:defRPr>
      </a:lvl4pPr>
      <a:lvl5pPr marL="8858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5pPr>
      <a:lvl6pPr marL="13430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6pPr>
      <a:lvl7pPr marL="18002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7pPr>
      <a:lvl8pPr marL="22574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8pPr>
      <a:lvl9pPr marL="27146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282" name="Picture 2" descr="group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gray">
          <a:xfrm>
            <a:off x="287338" y="6091238"/>
            <a:ext cx="3065462" cy="766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1283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260350"/>
            <a:ext cx="7831137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 STYLE DU TITRE</a:t>
            </a:r>
          </a:p>
        </p:txBody>
      </p:sp>
      <p:sp>
        <p:nvSpPr>
          <p:cNvPr id="481284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1052513"/>
            <a:ext cx="8029575" cy="489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  <a:p>
            <a:pPr lvl="4"/>
            <a:r>
              <a:rPr lang="fr-FR" altLang="fr-FR" smtClean="0"/>
              <a:t>Cinquième niveau</a:t>
            </a:r>
          </a:p>
        </p:txBody>
      </p:sp>
      <p:sp>
        <p:nvSpPr>
          <p:cNvPr id="728070" name="Rectangle 6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3838" y="6416675"/>
            <a:ext cx="181451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36000" bIns="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cs typeface="+mn-cs"/>
              </a:defRPr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728071" name="Rectangle 7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b="1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fr-FR"/>
              <a:t>P.</a:t>
            </a:r>
            <a:fld id="{4E4B7786-534F-4ACE-B777-F17D01B4FC9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28072" name="Rectangle 8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771775" y="6416675"/>
            <a:ext cx="3597275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>
                <a:cs typeface="+mn-cs"/>
              </a:defRPr>
            </a:lvl1pPr>
          </a:lstStyle>
          <a:p>
            <a:endParaRPr lang="fr-FR"/>
          </a:p>
        </p:txBody>
      </p:sp>
      <p:sp>
        <p:nvSpPr>
          <p:cNvPr id="1032" name="Line 10"/>
          <p:cNvSpPr>
            <a:spLocks noChangeShapeType="1"/>
          </p:cNvSpPr>
          <p:nvPr/>
        </p:nvSpPr>
        <p:spPr bwMode="gray">
          <a:xfrm flipH="1">
            <a:off x="323850" y="6194425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033" name="Line 12"/>
          <p:cNvSpPr>
            <a:spLocks noChangeShapeType="1"/>
          </p:cNvSpPr>
          <p:nvPr/>
        </p:nvSpPr>
        <p:spPr bwMode="gray">
          <a:xfrm flipH="1">
            <a:off x="323850" y="755650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034" name="Rectangle 13"/>
          <p:cNvSpPr>
            <a:spLocks noChangeArrowheads="1"/>
          </p:cNvSpPr>
          <p:nvPr/>
        </p:nvSpPr>
        <p:spPr bwMode="gray">
          <a:xfrm>
            <a:off x="8426450" y="6415088"/>
            <a:ext cx="71438" cy="442912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eaLnBrk="0" hangingPunct="0"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fr-FR" altLang="fr-FR" sz="800" b="1" smtClean="0"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409" r:id="rId1"/>
    <p:sldLayoutId id="2147486410" r:id="rId2"/>
    <p:sldLayoutId id="2147486411" r:id="rId3"/>
    <p:sldLayoutId id="2147486412" r:id="rId4"/>
    <p:sldLayoutId id="2147486413" r:id="rId5"/>
    <p:sldLayoutId id="2147486414" r:id="rId6"/>
    <p:sldLayoutId id="2147486415" r:id="rId7"/>
    <p:sldLayoutId id="2147486416" r:id="rId8"/>
    <p:sldLayoutId id="2147486417" r:id="rId9"/>
    <p:sldLayoutId id="2147486418" r:id="rId10"/>
    <p:sldLayoutId id="2147486419" r:id="rId11"/>
  </p:sldLayoutIdLst>
  <p:hf sldNum="0" hdr="0" ftr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9pPr>
    </p:titleStyle>
    <p:bodyStyle>
      <a:lvl1pPr marL="180975" indent="-180975" algn="l" rtl="0" fontAlgn="base">
        <a:spcBef>
          <a:spcPct val="100000"/>
        </a:spcBef>
        <a:spcAft>
          <a:spcPct val="0"/>
        </a:spcAft>
        <a:buClr>
          <a:srgbClr val="666666"/>
        </a:buClr>
        <a:buFont typeface="Wingdings" pitchFamily="2" charset="2"/>
        <a:buChar char="§"/>
        <a:defRPr sz="1600" b="1">
          <a:solidFill>
            <a:srgbClr val="000000"/>
          </a:solidFill>
          <a:latin typeface="+mn-lt"/>
          <a:ea typeface="+mn-ea"/>
          <a:cs typeface="+mn-cs"/>
        </a:defRPr>
      </a:lvl1pPr>
      <a:lvl2pPr marL="360363" indent="-177800" algn="l" rtl="0" fontAlgn="base">
        <a:spcBef>
          <a:spcPct val="50000"/>
        </a:spcBef>
        <a:spcAft>
          <a:spcPct val="0"/>
        </a:spcAft>
        <a:buChar char="•"/>
        <a:defRPr sz="1300">
          <a:solidFill>
            <a:srgbClr val="000000"/>
          </a:solidFill>
          <a:latin typeface="+mn-lt"/>
          <a:cs typeface="+mn-cs"/>
        </a:defRPr>
      </a:lvl2pPr>
      <a:lvl3pPr marL="542925" indent="-180975" algn="l" rtl="0" fontAlgn="base">
        <a:spcBef>
          <a:spcPct val="50000"/>
        </a:spcBef>
        <a:spcAft>
          <a:spcPct val="0"/>
        </a:spcAft>
        <a:buFont typeface="Arial" pitchFamily="34" charset="0"/>
        <a:buChar char="▫"/>
        <a:defRPr sz="1100">
          <a:solidFill>
            <a:srgbClr val="000000"/>
          </a:solidFill>
          <a:latin typeface="+mn-lt"/>
          <a:cs typeface="+mn-cs"/>
        </a:defRPr>
      </a:lvl3pPr>
      <a:lvl4pPr marL="723900" indent="-179388" algn="l" rtl="0" fontAlgn="base">
        <a:spcBef>
          <a:spcPct val="50000"/>
        </a:spcBef>
        <a:spcAft>
          <a:spcPct val="0"/>
        </a:spcAft>
        <a:buFont typeface="Arial" pitchFamily="34" charset="0"/>
        <a:buChar char="-"/>
        <a:defRPr sz="900">
          <a:solidFill>
            <a:srgbClr val="000000"/>
          </a:solidFill>
          <a:latin typeface="+mn-lt"/>
          <a:cs typeface="+mn-cs"/>
        </a:defRPr>
      </a:lvl4pPr>
      <a:lvl5pPr marL="8858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5pPr>
      <a:lvl6pPr marL="13430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6pPr>
      <a:lvl7pPr marL="18002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7pPr>
      <a:lvl8pPr marL="22574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8pPr>
      <a:lvl9pPr marL="27146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7" descr="group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gray">
          <a:xfrm>
            <a:off x="287338" y="6091238"/>
            <a:ext cx="3065462" cy="766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43" name="Rectangle 7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1301750"/>
            <a:ext cx="8029575" cy="996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10244" name="Rectangle 8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2293938"/>
            <a:ext cx="8029575" cy="227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368655" name="Line 15"/>
          <p:cNvSpPr>
            <a:spLocks noChangeShapeType="1"/>
          </p:cNvSpPr>
          <p:nvPr/>
        </p:nvSpPr>
        <p:spPr bwMode="gray">
          <a:xfrm flipV="1">
            <a:off x="4572000" y="260350"/>
            <a:ext cx="0" cy="504825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ＭＳ Ｐゴシック" charset="0"/>
            </a:endParaRPr>
          </a:p>
        </p:txBody>
      </p:sp>
      <p:sp>
        <p:nvSpPr>
          <p:cNvPr id="368668" name="Rectangle 28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3838" y="6416675"/>
            <a:ext cx="1814512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36000" bIns="0" numCol="1" anchor="t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368669" name="Rectangle 29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b="1">
                <a:latin typeface="Arial" charset="0"/>
                <a:ea typeface="ＭＳ Ｐゴシック" charset="-128"/>
              </a:defRPr>
            </a:lvl1pPr>
          </a:lstStyle>
          <a:p>
            <a:pPr>
              <a:defRPr/>
            </a:pPr>
            <a:r>
              <a:rPr lang="fr-FR"/>
              <a:t>P.</a:t>
            </a:r>
            <a:fld id="{E2F0FB26-CB5C-4F90-B932-7A0D98D1EA15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368670" name="Rectangle 30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771775" y="6416675"/>
            <a:ext cx="3597275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/>
            </a:lvl1pPr>
          </a:lstStyle>
          <a:p>
            <a:endParaRPr lang="fr-FR"/>
          </a:p>
        </p:txBody>
      </p:sp>
      <p:sp>
        <p:nvSpPr>
          <p:cNvPr id="368671" name="Rectangle 31"/>
          <p:cNvSpPr>
            <a:spLocks noChangeArrowheads="1"/>
          </p:cNvSpPr>
          <p:nvPr/>
        </p:nvSpPr>
        <p:spPr bwMode="gray">
          <a:xfrm>
            <a:off x="8426450" y="6415088"/>
            <a:ext cx="71438" cy="442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/>
          <a:lstStyle/>
          <a:p>
            <a:pPr>
              <a:defRPr/>
            </a:pPr>
            <a:r>
              <a:rPr lang="fr-FR" sz="800" b="1">
                <a:latin typeface="Arial" charset="0"/>
                <a:ea typeface="ＭＳ Ｐゴシック" charset="0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02" r:id="rId1"/>
    <p:sldLayoutId id="2147486101" r:id="rId2"/>
    <p:sldLayoutId id="2147486100" r:id="rId3"/>
    <p:sldLayoutId id="2147486099" r:id="rId4"/>
    <p:sldLayoutId id="2147486098" r:id="rId5"/>
    <p:sldLayoutId id="2147486097" r:id="rId6"/>
    <p:sldLayoutId id="2147486096" r:id="rId7"/>
    <p:sldLayoutId id="2147486095" r:id="rId8"/>
    <p:sldLayoutId id="2147486094" r:id="rId9"/>
    <p:sldLayoutId id="2147486093" r:id="rId10"/>
    <p:sldLayoutId id="2147486092" r:id="rId11"/>
  </p:sldLayoutIdLst>
  <p:hf sldNum="0" hdr="0" ftr="0"/>
  <p:txStyles>
    <p:titleStyle>
      <a:lvl1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+mj-lt"/>
          <a:ea typeface="ＭＳ Ｐゴシック" pitchFamily="34" charset="-128"/>
          <a:cs typeface="+mj-cs"/>
        </a:defRPr>
      </a:lvl1pPr>
      <a:lvl2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2pPr>
      <a:lvl3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3pPr>
      <a:lvl4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4pPr>
      <a:lvl5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5pPr>
      <a:lvl6pPr marL="457200" algn="ctr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Arial" charset="0"/>
          <a:ea typeface="ＭＳ Ｐゴシック" charset="0"/>
          <a:cs typeface="Arial" charset="0"/>
        </a:defRPr>
      </a:lvl6pPr>
      <a:lvl7pPr marL="914400" algn="ctr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Arial" charset="0"/>
          <a:ea typeface="ＭＳ Ｐゴシック" charset="0"/>
          <a:cs typeface="Arial" charset="0"/>
        </a:defRPr>
      </a:lvl7pPr>
      <a:lvl8pPr marL="1371600" algn="ctr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Arial" charset="0"/>
          <a:ea typeface="ＭＳ Ｐゴシック" charset="0"/>
          <a:cs typeface="Arial" charset="0"/>
        </a:defRPr>
      </a:lvl8pPr>
      <a:lvl9pPr marL="1828800" algn="ctr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Arial" charset="0"/>
          <a:ea typeface="ＭＳ Ｐゴシック" charset="0"/>
          <a:cs typeface="Arial" charset="0"/>
        </a:defRPr>
      </a:lvl9pPr>
    </p:titleStyle>
    <p:bodyStyle>
      <a:lvl1pPr marL="4763" indent="-4763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buClr>
          <a:schemeClr val="tx1"/>
        </a:buClr>
        <a:buFont typeface="Arial" pitchFamily="34" charset="0"/>
        <a:defRPr sz="30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1pPr>
      <a:lvl2pPr marL="11113" indent="-4763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2pPr>
      <a:lvl3pPr marL="14288" indent="-1588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buFont typeface="Wingdings" pitchFamily="2" charset="2"/>
        <a:defRPr sz="14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3pPr>
      <a:lvl4pPr marL="19050" indent="-3175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2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4pPr>
      <a:lvl5pPr marL="23813" indent="-3175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buFont typeface="Arial" pitchFamily="34" charset="0"/>
        <a:defRPr sz="10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5pPr>
      <a:lvl6pPr marL="481013" indent="-3175" algn="ctr" rtl="0" fontAlgn="base">
        <a:lnSpc>
          <a:spcPct val="90000"/>
        </a:lnSpc>
        <a:spcBef>
          <a:spcPct val="0"/>
        </a:spcBef>
        <a:spcAft>
          <a:spcPct val="0"/>
        </a:spcAft>
        <a:buFont typeface="Arial" charset="0"/>
        <a:defRPr sz="1000">
          <a:solidFill>
            <a:srgbClr val="000000"/>
          </a:solidFill>
          <a:latin typeface="+mn-lt"/>
          <a:ea typeface="Arial" charset="0"/>
          <a:cs typeface="+mn-cs"/>
        </a:defRPr>
      </a:lvl6pPr>
      <a:lvl7pPr marL="938213" indent="-3175" algn="ctr" rtl="0" fontAlgn="base">
        <a:lnSpc>
          <a:spcPct val="90000"/>
        </a:lnSpc>
        <a:spcBef>
          <a:spcPct val="0"/>
        </a:spcBef>
        <a:spcAft>
          <a:spcPct val="0"/>
        </a:spcAft>
        <a:buFont typeface="Arial" charset="0"/>
        <a:defRPr sz="1000">
          <a:solidFill>
            <a:srgbClr val="000000"/>
          </a:solidFill>
          <a:latin typeface="+mn-lt"/>
          <a:ea typeface="Arial" charset="0"/>
          <a:cs typeface="+mn-cs"/>
        </a:defRPr>
      </a:lvl7pPr>
      <a:lvl8pPr marL="1395413" indent="-3175" algn="ctr" rtl="0" fontAlgn="base">
        <a:lnSpc>
          <a:spcPct val="90000"/>
        </a:lnSpc>
        <a:spcBef>
          <a:spcPct val="0"/>
        </a:spcBef>
        <a:spcAft>
          <a:spcPct val="0"/>
        </a:spcAft>
        <a:buFont typeface="Arial" charset="0"/>
        <a:defRPr sz="1000">
          <a:solidFill>
            <a:srgbClr val="000000"/>
          </a:solidFill>
          <a:latin typeface="+mn-lt"/>
          <a:ea typeface="Arial" charset="0"/>
          <a:cs typeface="+mn-cs"/>
        </a:defRPr>
      </a:lvl8pPr>
      <a:lvl9pPr marL="1852613" indent="-3175" algn="ctr" rtl="0" fontAlgn="base">
        <a:lnSpc>
          <a:spcPct val="90000"/>
        </a:lnSpc>
        <a:spcBef>
          <a:spcPct val="0"/>
        </a:spcBef>
        <a:spcAft>
          <a:spcPct val="0"/>
        </a:spcAft>
        <a:buFont typeface="Arial" charset="0"/>
        <a:defRPr sz="1000">
          <a:solidFill>
            <a:srgbClr val="000000"/>
          </a:solidFill>
          <a:latin typeface="+mn-lt"/>
          <a:ea typeface="Arial" charset="0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11" descr="SOCEE104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gray">
          <a:xfrm>
            <a:off x="3359150" y="6116638"/>
            <a:ext cx="2425700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47" name="Line 12"/>
          <p:cNvSpPr>
            <a:spLocks noChangeShapeType="1"/>
          </p:cNvSpPr>
          <p:nvPr/>
        </p:nvSpPr>
        <p:spPr bwMode="gray">
          <a:xfrm flipV="1">
            <a:off x="4572000" y="209550"/>
            <a:ext cx="0" cy="266700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ＭＳ Ｐゴシック" charset="-128"/>
            </a:endParaRPr>
          </a:p>
        </p:txBody>
      </p:sp>
      <p:sp>
        <p:nvSpPr>
          <p:cNvPr id="11268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260350"/>
            <a:ext cx="7831137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11269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1052513"/>
            <a:ext cx="8029575" cy="489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13" name="Espace réservé de la date 12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557213" y="4849813"/>
            <a:ext cx="8029575" cy="47942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1100"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13" r:id="rId1"/>
    <p:sldLayoutId id="2147486112" r:id="rId2"/>
    <p:sldLayoutId id="2147486111" r:id="rId3"/>
    <p:sldLayoutId id="2147486110" r:id="rId4"/>
    <p:sldLayoutId id="2147486109" r:id="rId5"/>
    <p:sldLayoutId id="2147486108" r:id="rId6"/>
    <p:sldLayoutId id="2147486107" r:id="rId7"/>
    <p:sldLayoutId id="2147486106" r:id="rId8"/>
    <p:sldLayoutId id="2147486105" r:id="rId9"/>
    <p:sldLayoutId id="2147486104" r:id="rId10"/>
    <p:sldLayoutId id="2147486103" r:id="rId11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+mj-lt"/>
          <a:ea typeface="ＭＳ Ｐゴシック" pitchFamily="34" charset="-128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charset="0"/>
          <a:cs typeface="Arial" charset="0"/>
        </a:defRPr>
      </a:lvl9pPr>
    </p:titleStyle>
    <p:bodyStyle>
      <a:lvl1pPr marL="180975" indent="-180975" algn="l" rtl="0" eaLnBrk="0" fontAlgn="base" hangingPunct="0">
        <a:spcBef>
          <a:spcPct val="100000"/>
        </a:spcBef>
        <a:spcAft>
          <a:spcPct val="0"/>
        </a:spcAft>
        <a:buClr>
          <a:srgbClr val="666666"/>
        </a:buClr>
        <a:buFont typeface="Wingdings" pitchFamily="2" charset="2"/>
        <a:buChar char="§"/>
        <a:defRPr sz="1600" b="1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1pPr>
      <a:lvl2pPr marL="360363" indent="-177800" algn="l" rtl="0" eaLnBrk="0" fontAlgn="base" hangingPunct="0">
        <a:spcBef>
          <a:spcPct val="50000"/>
        </a:spcBef>
        <a:spcAft>
          <a:spcPct val="0"/>
        </a:spcAft>
        <a:buChar char="•"/>
        <a:defRPr sz="13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2pPr>
      <a:lvl3pPr marL="542925" indent="-180975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▫"/>
        <a:defRPr sz="11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3pPr>
      <a:lvl4pPr marL="723900" indent="-17938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-"/>
        <a:defRPr sz="9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4pPr>
      <a:lvl5pPr marL="885825" indent="-16033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5pPr>
      <a:lvl6pPr marL="13430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ea typeface="Arial" charset="0"/>
          <a:cs typeface="+mn-cs"/>
        </a:defRPr>
      </a:lvl6pPr>
      <a:lvl7pPr marL="18002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ea typeface="Arial" charset="0"/>
          <a:cs typeface="+mn-cs"/>
        </a:defRPr>
      </a:lvl7pPr>
      <a:lvl8pPr marL="22574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ea typeface="Arial" charset="0"/>
          <a:cs typeface="+mn-cs"/>
        </a:defRPr>
      </a:lvl8pPr>
      <a:lvl9pPr marL="27146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ea typeface="Arial" charset="0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260350"/>
            <a:ext cx="7831137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12291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908050"/>
            <a:ext cx="8029575" cy="4897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7172" name="Line 9"/>
          <p:cNvSpPr>
            <a:spLocks noChangeShapeType="1"/>
          </p:cNvSpPr>
          <p:nvPr/>
        </p:nvSpPr>
        <p:spPr bwMode="gray">
          <a:xfrm flipH="1">
            <a:off x="323850" y="755650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ＭＳ Ｐゴシック" charset="-128"/>
            </a:endParaRPr>
          </a:p>
        </p:txBody>
      </p:sp>
      <p:pic>
        <p:nvPicPr>
          <p:cNvPr id="12293" name="Picture 5" descr="group"/>
          <p:cNvPicPr>
            <a:picLocks noChangeAspect="1" noChangeArrowheads="1"/>
          </p:cNvPicPr>
          <p:nvPr userDrawn="1"/>
        </p:nvPicPr>
        <p:blipFill>
          <a:blip r:embed="rId13"/>
          <a:srcRect/>
          <a:stretch>
            <a:fillRect/>
          </a:stretch>
        </p:blipFill>
        <p:spPr bwMode="gray">
          <a:xfrm>
            <a:off x="287338" y="6091238"/>
            <a:ext cx="3065462" cy="766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17190" name="Rectangle 6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3838" y="6416675"/>
            <a:ext cx="1814512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36000" bIns="0" numCol="1" anchor="t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1117191" name="Rectangle 7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b="1">
                <a:latin typeface="Arial" charset="0"/>
                <a:ea typeface="ＭＳ Ｐゴシック" charset="-128"/>
              </a:defRPr>
            </a:lvl1pPr>
          </a:lstStyle>
          <a:p>
            <a:pPr>
              <a:defRPr/>
            </a:pPr>
            <a:r>
              <a:rPr lang="fr-FR"/>
              <a:t>P.</a:t>
            </a:r>
            <a:fld id="{5D3E6536-4967-4F59-B059-095816470493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1117192" name="Rectangle 8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771775" y="6416675"/>
            <a:ext cx="3597275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/>
            </a:lvl1pPr>
          </a:lstStyle>
          <a:p>
            <a:endParaRPr lang="fr-FR"/>
          </a:p>
        </p:txBody>
      </p:sp>
      <p:sp>
        <p:nvSpPr>
          <p:cNvPr id="1117193" name="Line 9"/>
          <p:cNvSpPr>
            <a:spLocks noChangeShapeType="1"/>
          </p:cNvSpPr>
          <p:nvPr userDrawn="1"/>
        </p:nvSpPr>
        <p:spPr bwMode="gray">
          <a:xfrm flipH="1">
            <a:off x="323850" y="6194425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ＭＳ Ｐゴシック" charset="0"/>
            </a:endParaRPr>
          </a:p>
        </p:txBody>
      </p:sp>
      <p:sp>
        <p:nvSpPr>
          <p:cNvPr id="1117194" name="Rectangle 10"/>
          <p:cNvSpPr>
            <a:spLocks noChangeArrowheads="1"/>
          </p:cNvSpPr>
          <p:nvPr userDrawn="1"/>
        </p:nvSpPr>
        <p:spPr bwMode="gray">
          <a:xfrm>
            <a:off x="8426450" y="6415088"/>
            <a:ext cx="71438" cy="442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/>
          <a:lstStyle/>
          <a:p>
            <a:pPr>
              <a:defRPr/>
            </a:pPr>
            <a:r>
              <a:rPr lang="fr-FR" sz="800" b="1">
                <a:latin typeface="Arial" charset="0"/>
                <a:ea typeface="ＭＳ Ｐゴシック" charset="0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24" r:id="rId1"/>
    <p:sldLayoutId id="2147486123" r:id="rId2"/>
    <p:sldLayoutId id="2147486122" r:id="rId3"/>
    <p:sldLayoutId id="2147486121" r:id="rId4"/>
    <p:sldLayoutId id="2147486120" r:id="rId5"/>
    <p:sldLayoutId id="2147486119" r:id="rId6"/>
    <p:sldLayoutId id="2147486118" r:id="rId7"/>
    <p:sldLayoutId id="2147486117" r:id="rId8"/>
    <p:sldLayoutId id="2147486116" r:id="rId9"/>
    <p:sldLayoutId id="2147486115" r:id="rId10"/>
    <p:sldLayoutId id="2147486114" r:id="rId11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+mj-lt"/>
          <a:ea typeface="ＭＳ Ｐゴシック" pitchFamily="34" charset="-128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charset="0"/>
          <a:cs typeface="Arial" charset="0"/>
        </a:defRPr>
      </a:lvl9pPr>
    </p:titleStyle>
    <p:bodyStyle>
      <a:lvl1pPr marL="180975" indent="-180975" algn="l" rtl="0" eaLnBrk="0" fontAlgn="base" hangingPunct="0">
        <a:spcBef>
          <a:spcPct val="100000"/>
        </a:spcBef>
        <a:spcAft>
          <a:spcPct val="0"/>
        </a:spcAft>
        <a:buClr>
          <a:srgbClr val="666666"/>
        </a:buClr>
        <a:buFont typeface="Wingdings" pitchFamily="2" charset="2"/>
        <a:buChar char="§"/>
        <a:defRPr sz="1600" b="1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1pPr>
      <a:lvl2pPr marL="360363" indent="-177800" algn="l" rtl="0" eaLnBrk="0" fontAlgn="base" hangingPunct="0">
        <a:spcBef>
          <a:spcPct val="50000"/>
        </a:spcBef>
        <a:spcAft>
          <a:spcPct val="0"/>
        </a:spcAft>
        <a:buChar char="•"/>
        <a:defRPr sz="13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2pPr>
      <a:lvl3pPr marL="542925" indent="-180975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▫"/>
        <a:defRPr sz="11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3pPr>
      <a:lvl4pPr marL="723900" indent="-17938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-"/>
        <a:defRPr sz="9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4pPr>
      <a:lvl5pPr marL="885825" indent="-16033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5pPr>
      <a:lvl6pPr marL="13430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ea typeface="Arial" charset="0"/>
          <a:cs typeface="+mn-cs"/>
        </a:defRPr>
      </a:lvl6pPr>
      <a:lvl7pPr marL="18002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ea typeface="Arial" charset="0"/>
          <a:cs typeface="+mn-cs"/>
        </a:defRPr>
      </a:lvl7pPr>
      <a:lvl8pPr marL="22574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ea typeface="Arial" charset="0"/>
          <a:cs typeface="+mn-cs"/>
        </a:defRPr>
      </a:lvl8pPr>
      <a:lvl9pPr marL="27146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ea typeface="Arial" charset="0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0" descr="group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gray">
          <a:xfrm>
            <a:off x="287338" y="6091238"/>
            <a:ext cx="3065462" cy="766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5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1125538"/>
            <a:ext cx="8029575" cy="57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13316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1916113"/>
            <a:ext cx="8029575" cy="403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1045" name="Rectangle 21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3838" y="6416675"/>
            <a:ext cx="181451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36000" bIns="0" numCol="1" anchor="t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r>
              <a:rPr lang="fr-FR" smtClean="0"/>
              <a:t>22/04/2015</a:t>
            </a:r>
            <a:endParaRPr lang="fr-FR"/>
          </a:p>
        </p:txBody>
      </p:sp>
      <p:sp>
        <p:nvSpPr>
          <p:cNvPr id="1046" name="Rectangle 22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b="1">
                <a:latin typeface="Arial" charset="0"/>
                <a:ea typeface="ＭＳ Ｐゴシック" charset="-128"/>
              </a:defRPr>
            </a:lvl1pPr>
          </a:lstStyle>
          <a:p>
            <a:pPr>
              <a:defRPr/>
            </a:pPr>
            <a:r>
              <a:rPr lang="fr-FR"/>
              <a:t>P.</a:t>
            </a:r>
            <a:fld id="{DFEBA08A-F5FF-4476-B4BF-172719AF1B06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1047" name="Rectangle 23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771775" y="6416675"/>
            <a:ext cx="3597275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/>
            </a:lvl1pPr>
          </a:lstStyle>
          <a:p>
            <a:endParaRPr lang="fr-FR"/>
          </a:p>
        </p:txBody>
      </p:sp>
      <p:sp>
        <p:nvSpPr>
          <p:cNvPr id="8200" name="Rectangle 24"/>
          <p:cNvSpPr>
            <a:spLocks noChangeArrowheads="1"/>
          </p:cNvSpPr>
          <p:nvPr/>
        </p:nvSpPr>
        <p:spPr bwMode="gray">
          <a:xfrm>
            <a:off x="8426450" y="6415088"/>
            <a:ext cx="71438" cy="44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>
              <a:defRPr/>
            </a:pPr>
            <a:r>
              <a:rPr lang="fr-FR" sz="800" b="1">
                <a:latin typeface="Arial" charset="0"/>
                <a:ea typeface="ＭＳ Ｐゴシック" charset="-128"/>
              </a:rPr>
              <a:t>|</a:t>
            </a:r>
          </a:p>
        </p:txBody>
      </p:sp>
      <p:sp>
        <p:nvSpPr>
          <p:cNvPr id="8201" name="Line 12"/>
          <p:cNvSpPr>
            <a:spLocks noChangeShapeType="1"/>
          </p:cNvSpPr>
          <p:nvPr userDrawn="1"/>
        </p:nvSpPr>
        <p:spPr bwMode="gray">
          <a:xfrm flipH="1">
            <a:off x="323850" y="755650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ＭＳ Ｐゴシック" charset="-128"/>
            </a:endParaRPr>
          </a:p>
        </p:txBody>
      </p:sp>
      <p:sp>
        <p:nvSpPr>
          <p:cNvPr id="1123338" name="Line 10"/>
          <p:cNvSpPr>
            <a:spLocks noChangeShapeType="1"/>
          </p:cNvSpPr>
          <p:nvPr userDrawn="1"/>
        </p:nvSpPr>
        <p:spPr bwMode="gray">
          <a:xfrm flipH="1">
            <a:off x="323850" y="6194425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ＭＳ Ｐゴシック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35" r:id="rId1"/>
    <p:sldLayoutId id="2147486134" r:id="rId2"/>
    <p:sldLayoutId id="2147486133" r:id="rId3"/>
    <p:sldLayoutId id="2147486132" r:id="rId4"/>
    <p:sldLayoutId id="2147486131" r:id="rId5"/>
    <p:sldLayoutId id="2147486130" r:id="rId6"/>
    <p:sldLayoutId id="2147486129" r:id="rId7"/>
    <p:sldLayoutId id="2147486128" r:id="rId8"/>
    <p:sldLayoutId id="2147486127" r:id="rId9"/>
    <p:sldLayoutId id="2147486126" r:id="rId10"/>
    <p:sldLayoutId id="2147486125" r:id="rId11"/>
  </p:sldLayoutIdLst>
  <p:hf sldNum="0" hdr="0" ftr="0"/>
  <p:txStyles>
    <p:titleStyle>
      <a:lvl1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+mj-lt"/>
          <a:ea typeface="ＭＳ Ｐゴシック" pitchFamily="34" charset="-128"/>
          <a:cs typeface="+mj-cs"/>
        </a:defRPr>
      </a:lvl1pPr>
      <a:lvl2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charset="0"/>
          <a:ea typeface="ＭＳ Ｐゴシック" pitchFamily="34" charset="-128"/>
          <a:cs typeface="Arial" charset="0"/>
        </a:defRPr>
      </a:lvl2pPr>
      <a:lvl3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charset="0"/>
          <a:ea typeface="ＭＳ Ｐゴシック" pitchFamily="34" charset="-128"/>
          <a:cs typeface="Arial" charset="0"/>
        </a:defRPr>
      </a:lvl3pPr>
      <a:lvl4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charset="0"/>
          <a:ea typeface="ＭＳ Ｐゴシック" pitchFamily="34" charset="-128"/>
          <a:cs typeface="Arial" charset="0"/>
        </a:defRPr>
      </a:lvl4pPr>
      <a:lvl5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charset="0"/>
          <a:ea typeface="ＭＳ Ｐゴシック" pitchFamily="34" charset="-128"/>
          <a:cs typeface="Arial" charset="0"/>
        </a:defRPr>
      </a:lvl5pPr>
      <a:lvl6pPr marL="4572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charset="0"/>
          <a:ea typeface="ＭＳ Ｐゴシック" charset="0"/>
          <a:cs typeface="Arial" charset="0"/>
        </a:defRPr>
      </a:lvl6pPr>
      <a:lvl7pPr marL="9144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charset="0"/>
          <a:ea typeface="ＭＳ Ｐゴシック" charset="0"/>
          <a:cs typeface="Arial" charset="0"/>
        </a:defRPr>
      </a:lvl7pPr>
      <a:lvl8pPr marL="13716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charset="0"/>
          <a:ea typeface="ＭＳ Ｐゴシック" charset="0"/>
          <a:cs typeface="Arial" charset="0"/>
        </a:defRPr>
      </a:lvl8pPr>
      <a:lvl9pPr marL="18288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charset="0"/>
          <a:ea typeface="ＭＳ Ｐゴシック" charset="0"/>
          <a:cs typeface="Arial" charset="0"/>
        </a:defRPr>
      </a:lvl9pPr>
    </p:titleStyle>
    <p:bodyStyle>
      <a:lvl1pPr marL="4763" indent="-4763" algn="l" rtl="0" eaLnBrk="0" fontAlgn="base" hangingPunct="0">
        <a:spcBef>
          <a:spcPct val="50000"/>
        </a:spcBef>
        <a:spcAft>
          <a:spcPct val="20000"/>
        </a:spcAft>
        <a:buFont typeface="Arial" pitchFamily="34" charset="0"/>
        <a:defRPr b="1">
          <a:solidFill>
            <a:srgbClr val="E60028"/>
          </a:solidFill>
          <a:latin typeface="+mn-lt"/>
          <a:ea typeface="ＭＳ Ｐゴシック" pitchFamily="34" charset="-128"/>
          <a:cs typeface="+mn-cs"/>
        </a:defRPr>
      </a:lvl1pPr>
      <a:lvl2pPr marL="12700" indent="-6350" algn="l" rtl="0" eaLnBrk="0" fontAlgn="base" hangingPunct="0">
        <a:spcBef>
          <a:spcPct val="0"/>
        </a:spcBef>
        <a:spcAft>
          <a:spcPct val="20000"/>
        </a:spcAft>
        <a:defRPr sz="1200" b="1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2pPr>
      <a:lvl3pPr marL="15875" indent="-1588" algn="l" rtl="0" eaLnBrk="0" fontAlgn="base" hangingPunct="0">
        <a:spcBef>
          <a:spcPct val="0"/>
        </a:spcBef>
        <a:spcAft>
          <a:spcPct val="20000"/>
        </a:spcAft>
        <a:buSzPct val="80000"/>
        <a:buFont typeface="Wingdings" pitchFamily="2" charset="2"/>
        <a:defRPr sz="1000" b="1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3pPr>
      <a:lvl4pPr marL="20638" indent="-3175" algn="l" rtl="0" eaLnBrk="0" fontAlgn="base" hangingPunct="0">
        <a:spcBef>
          <a:spcPct val="0"/>
        </a:spcBef>
        <a:spcAft>
          <a:spcPct val="40000"/>
        </a:spcAft>
        <a:defRPr sz="9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4pPr>
      <a:lvl5pPr marL="25400" indent="-3175" algn="l" rtl="0" eaLnBrk="0" fontAlgn="base" hangingPunct="0">
        <a:spcBef>
          <a:spcPct val="0"/>
        </a:spcBef>
        <a:spcAft>
          <a:spcPct val="20000"/>
        </a:spcAft>
        <a:buFont typeface="Arial" pitchFamily="34" charset="0"/>
        <a:defRPr sz="8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5pPr>
      <a:lvl6pPr marL="482600" indent="-3175" algn="l" rtl="0" fontAlgn="base">
        <a:spcBef>
          <a:spcPct val="0"/>
        </a:spcBef>
        <a:spcAft>
          <a:spcPct val="20000"/>
        </a:spcAft>
        <a:buFont typeface="Arial" charset="0"/>
        <a:defRPr sz="800">
          <a:solidFill>
            <a:srgbClr val="000000"/>
          </a:solidFill>
          <a:latin typeface="+mn-lt"/>
          <a:ea typeface="Arial" charset="0"/>
          <a:cs typeface="+mn-cs"/>
        </a:defRPr>
      </a:lvl6pPr>
      <a:lvl7pPr marL="939800" indent="-3175" algn="l" rtl="0" fontAlgn="base">
        <a:spcBef>
          <a:spcPct val="0"/>
        </a:spcBef>
        <a:spcAft>
          <a:spcPct val="20000"/>
        </a:spcAft>
        <a:buFont typeface="Arial" charset="0"/>
        <a:defRPr sz="800">
          <a:solidFill>
            <a:srgbClr val="000000"/>
          </a:solidFill>
          <a:latin typeface="+mn-lt"/>
          <a:ea typeface="Arial" charset="0"/>
          <a:cs typeface="+mn-cs"/>
        </a:defRPr>
      </a:lvl7pPr>
      <a:lvl8pPr marL="1397000" indent="-3175" algn="l" rtl="0" fontAlgn="base">
        <a:spcBef>
          <a:spcPct val="0"/>
        </a:spcBef>
        <a:spcAft>
          <a:spcPct val="20000"/>
        </a:spcAft>
        <a:buFont typeface="Arial" charset="0"/>
        <a:defRPr sz="800">
          <a:solidFill>
            <a:srgbClr val="000000"/>
          </a:solidFill>
          <a:latin typeface="+mn-lt"/>
          <a:ea typeface="Arial" charset="0"/>
          <a:cs typeface="+mn-cs"/>
        </a:defRPr>
      </a:lvl8pPr>
      <a:lvl9pPr marL="1854200" indent="-3175" algn="l" rtl="0" fontAlgn="base">
        <a:spcBef>
          <a:spcPct val="0"/>
        </a:spcBef>
        <a:spcAft>
          <a:spcPct val="20000"/>
        </a:spcAft>
        <a:buFont typeface="Arial" charset="0"/>
        <a:defRPr sz="800">
          <a:solidFill>
            <a:srgbClr val="000000"/>
          </a:solidFill>
          <a:latin typeface="+mn-lt"/>
          <a:ea typeface="Arial" charset="0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260350"/>
            <a:ext cx="7831137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14339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908050"/>
            <a:ext cx="8029575" cy="4897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9220" name="Line 9"/>
          <p:cNvSpPr>
            <a:spLocks noChangeShapeType="1"/>
          </p:cNvSpPr>
          <p:nvPr/>
        </p:nvSpPr>
        <p:spPr bwMode="gray">
          <a:xfrm flipH="1">
            <a:off x="323850" y="755650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ＭＳ Ｐゴシック" charset="-128"/>
            </a:endParaRPr>
          </a:p>
        </p:txBody>
      </p:sp>
      <p:pic>
        <p:nvPicPr>
          <p:cNvPr id="14341" name="Picture 5" descr="group"/>
          <p:cNvPicPr>
            <a:picLocks noChangeAspect="1" noChangeArrowheads="1"/>
          </p:cNvPicPr>
          <p:nvPr userDrawn="1"/>
        </p:nvPicPr>
        <p:blipFill>
          <a:blip r:embed="rId13"/>
          <a:srcRect/>
          <a:stretch>
            <a:fillRect/>
          </a:stretch>
        </p:blipFill>
        <p:spPr bwMode="gray">
          <a:xfrm>
            <a:off x="430213" y="6270625"/>
            <a:ext cx="3065462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86150" name="Rectangle 6"/>
          <p:cNvSpPr>
            <a:spLocks noChangeArrowheads="1"/>
          </p:cNvSpPr>
          <p:nvPr/>
        </p:nvSpPr>
        <p:spPr bwMode="gray">
          <a:xfrm>
            <a:off x="6753225" y="6596063"/>
            <a:ext cx="1814513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36000" bIns="0"/>
          <a:lstStyle/>
          <a:p>
            <a:pPr algn="r">
              <a:defRPr/>
            </a:pPr>
            <a:r>
              <a:rPr lang="fr-FR" sz="800">
                <a:latin typeface="Arial" charset="0"/>
                <a:ea typeface="ＭＳ Ｐゴシック" charset="0"/>
              </a:rPr>
              <a:t>DATE 21/12/2012</a:t>
            </a:r>
          </a:p>
        </p:txBody>
      </p:sp>
      <p:sp>
        <p:nvSpPr>
          <p:cNvPr id="1286151" name="Rectangle 7"/>
          <p:cNvSpPr>
            <a:spLocks noChangeArrowheads="1"/>
          </p:cNvSpPr>
          <p:nvPr/>
        </p:nvSpPr>
        <p:spPr bwMode="gray">
          <a:xfrm>
            <a:off x="8639175" y="6596063"/>
            <a:ext cx="360363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/>
          <a:lstStyle/>
          <a:p>
            <a:pPr algn="r">
              <a:defRPr/>
            </a:pPr>
            <a:r>
              <a:rPr lang="fr-FR" sz="800" b="1">
                <a:latin typeface="Arial" charset="0"/>
                <a:ea typeface="ＭＳ Ｐゴシック" charset="-128"/>
              </a:rPr>
              <a:t>P.</a:t>
            </a:r>
            <a:fld id="{59056ED8-14B1-4916-AC5B-873EE534C537}" type="slidenum">
              <a:rPr lang="fr-FR" sz="800" b="1">
                <a:latin typeface="Arial" charset="0"/>
                <a:ea typeface="ＭＳ Ｐゴシック" charset="-128"/>
              </a:rPr>
              <a:pPr algn="r">
                <a:defRPr/>
              </a:pPr>
              <a:t>‹N°›</a:t>
            </a:fld>
            <a:endParaRPr lang="fr-FR" sz="800" b="1">
              <a:latin typeface="Arial" charset="0"/>
              <a:ea typeface="ＭＳ Ｐゴシック" charset="-128"/>
            </a:endParaRPr>
          </a:p>
        </p:txBody>
      </p:sp>
      <p:sp>
        <p:nvSpPr>
          <p:cNvPr id="1286152" name="Rectangle 8"/>
          <p:cNvSpPr>
            <a:spLocks noChangeArrowheads="1"/>
          </p:cNvSpPr>
          <p:nvPr/>
        </p:nvSpPr>
        <p:spPr bwMode="gray">
          <a:xfrm>
            <a:off x="2951163" y="6596063"/>
            <a:ext cx="3597275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/>
          <a:lstStyle/>
          <a:p>
            <a:pPr>
              <a:defRPr/>
            </a:pPr>
            <a:r>
              <a:rPr lang="fr-FR" sz="800">
                <a:latin typeface="Arial" charset="0"/>
                <a:ea typeface="ＭＳ Ｐゴシック" charset="0"/>
              </a:rPr>
              <a:t>C2  |  COMITE DE PILOTAGE CONVERGENCE GTS</a:t>
            </a:r>
          </a:p>
        </p:txBody>
      </p:sp>
      <p:sp>
        <p:nvSpPr>
          <p:cNvPr id="1286153" name="Line 9"/>
          <p:cNvSpPr>
            <a:spLocks noChangeShapeType="1"/>
          </p:cNvSpPr>
          <p:nvPr userDrawn="1"/>
        </p:nvSpPr>
        <p:spPr bwMode="gray">
          <a:xfrm flipH="1">
            <a:off x="430213" y="6488113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ＭＳ Ｐゴシック" charset="0"/>
            </a:endParaRPr>
          </a:p>
        </p:txBody>
      </p:sp>
      <p:sp>
        <p:nvSpPr>
          <p:cNvPr id="1286154" name="Rectangle 10"/>
          <p:cNvSpPr>
            <a:spLocks noChangeArrowheads="1"/>
          </p:cNvSpPr>
          <p:nvPr userDrawn="1"/>
        </p:nvSpPr>
        <p:spPr bwMode="gray">
          <a:xfrm>
            <a:off x="8605838" y="6594475"/>
            <a:ext cx="71437" cy="442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/>
          <a:lstStyle/>
          <a:p>
            <a:pPr>
              <a:defRPr/>
            </a:pPr>
            <a:r>
              <a:rPr lang="fr-FR" sz="800" b="1">
                <a:latin typeface="Arial" charset="0"/>
                <a:ea typeface="ＭＳ Ｐゴシック" charset="0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46" r:id="rId1"/>
    <p:sldLayoutId id="2147486145" r:id="rId2"/>
    <p:sldLayoutId id="2147486144" r:id="rId3"/>
    <p:sldLayoutId id="2147486143" r:id="rId4"/>
    <p:sldLayoutId id="2147486142" r:id="rId5"/>
    <p:sldLayoutId id="2147486141" r:id="rId6"/>
    <p:sldLayoutId id="2147486140" r:id="rId7"/>
    <p:sldLayoutId id="2147486139" r:id="rId8"/>
    <p:sldLayoutId id="2147486138" r:id="rId9"/>
    <p:sldLayoutId id="2147486137" r:id="rId10"/>
    <p:sldLayoutId id="2147486136" r:id="rId11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+mj-lt"/>
          <a:ea typeface="ＭＳ Ｐゴシック" pitchFamily="34" charset="-128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charset="0"/>
          <a:cs typeface="Arial" charset="0"/>
        </a:defRPr>
      </a:lvl9pPr>
    </p:titleStyle>
    <p:bodyStyle>
      <a:lvl1pPr marL="180975" indent="-180975" algn="l" rtl="0" eaLnBrk="0" fontAlgn="base" hangingPunct="0">
        <a:spcBef>
          <a:spcPct val="100000"/>
        </a:spcBef>
        <a:spcAft>
          <a:spcPct val="0"/>
        </a:spcAft>
        <a:buClr>
          <a:srgbClr val="666666"/>
        </a:buClr>
        <a:buFont typeface="Wingdings" pitchFamily="2" charset="2"/>
        <a:buChar char="§"/>
        <a:defRPr sz="1600" b="1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1pPr>
      <a:lvl2pPr marL="360363" indent="-177800" algn="l" rtl="0" eaLnBrk="0" fontAlgn="base" hangingPunct="0">
        <a:spcBef>
          <a:spcPct val="50000"/>
        </a:spcBef>
        <a:spcAft>
          <a:spcPct val="0"/>
        </a:spcAft>
        <a:buChar char="•"/>
        <a:defRPr sz="13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2pPr>
      <a:lvl3pPr marL="542925" indent="-180975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▫"/>
        <a:defRPr sz="11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3pPr>
      <a:lvl4pPr marL="723900" indent="-17938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-"/>
        <a:defRPr sz="9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4pPr>
      <a:lvl5pPr marL="885825" indent="-16033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5pPr>
      <a:lvl6pPr marL="13430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ea typeface="Arial" charset="0"/>
          <a:cs typeface="+mn-cs"/>
        </a:defRPr>
      </a:lvl6pPr>
      <a:lvl7pPr marL="18002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ea typeface="Arial" charset="0"/>
          <a:cs typeface="+mn-cs"/>
        </a:defRPr>
      </a:lvl7pPr>
      <a:lvl8pPr marL="22574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ea typeface="Arial" charset="0"/>
          <a:cs typeface="+mn-cs"/>
        </a:defRPr>
      </a:lvl8pPr>
      <a:lvl9pPr marL="27146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ea typeface="Arial" charset="0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260350"/>
            <a:ext cx="7831137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15363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908050"/>
            <a:ext cx="8029575" cy="4897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10244" name="Line 9"/>
          <p:cNvSpPr>
            <a:spLocks noChangeShapeType="1"/>
          </p:cNvSpPr>
          <p:nvPr/>
        </p:nvSpPr>
        <p:spPr bwMode="gray">
          <a:xfrm flipH="1">
            <a:off x="323850" y="755650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>
              <a:latin typeface="Arial" charset="0"/>
              <a:ea typeface="ＭＳ Ｐゴシック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57" r:id="rId1"/>
    <p:sldLayoutId id="2147486156" r:id="rId2"/>
    <p:sldLayoutId id="2147486155" r:id="rId3"/>
    <p:sldLayoutId id="2147486154" r:id="rId4"/>
    <p:sldLayoutId id="2147486153" r:id="rId5"/>
    <p:sldLayoutId id="2147486152" r:id="rId6"/>
    <p:sldLayoutId id="2147486151" r:id="rId7"/>
    <p:sldLayoutId id="2147486150" r:id="rId8"/>
    <p:sldLayoutId id="2147486149" r:id="rId9"/>
    <p:sldLayoutId id="2147486148" r:id="rId10"/>
    <p:sldLayoutId id="2147486147" r:id="rId11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+mj-lt"/>
          <a:ea typeface="ＭＳ Ｐゴシック" pitchFamily="34" charset="-128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pitchFamily="34" charset="-128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ea typeface="ＭＳ Ｐゴシック" charset="0"/>
          <a:cs typeface="Arial" charset="0"/>
        </a:defRPr>
      </a:lvl9pPr>
    </p:titleStyle>
    <p:bodyStyle>
      <a:lvl1pPr marL="180975" indent="-180975" algn="l" rtl="0" eaLnBrk="0" fontAlgn="base" hangingPunct="0">
        <a:spcBef>
          <a:spcPct val="100000"/>
        </a:spcBef>
        <a:spcAft>
          <a:spcPct val="0"/>
        </a:spcAft>
        <a:buClr>
          <a:srgbClr val="666666"/>
        </a:buClr>
        <a:buFont typeface="Wingdings" pitchFamily="2" charset="2"/>
        <a:buChar char="§"/>
        <a:defRPr sz="1600" b="1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1pPr>
      <a:lvl2pPr marL="360363" indent="-177800" algn="l" rtl="0" eaLnBrk="0" fontAlgn="base" hangingPunct="0">
        <a:spcBef>
          <a:spcPct val="50000"/>
        </a:spcBef>
        <a:spcAft>
          <a:spcPct val="0"/>
        </a:spcAft>
        <a:buChar char="•"/>
        <a:defRPr sz="13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2pPr>
      <a:lvl3pPr marL="542925" indent="-180975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▫"/>
        <a:defRPr sz="11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3pPr>
      <a:lvl4pPr marL="723900" indent="-17938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-"/>
        <a:defRPr sz="9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4pPr>
      <a:lvl5pPr marL="885825" indent="-160338" algn="l" rtl="0" eaLnBrk="0" fontAlgn="base" hangingPunct="0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5pPr>
      <a:lvl6pPr marL="13430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ea typeface="Arial" charset="0"/>
          <a:cs typeface="+mn-cs"/>
        </a:defRPr>
      </a:lvl6pPr>
      <a:lvl7pPr marL="18002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ea typeface="Arial" charset="0"/>
          <a:cs typeface="+mn-cs"/>
        </a:defRPr>
      </a:lvl7pPr>
      <a:lvl8pPr marL="22574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ea typeface="Arial" charset="0"/>
          <a:cs typeface="+mn-cs"/>
        </a:defRPr>
      </a:lvl8pPr>
      <a:lvl9pPr marL="27146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ea typeface="Arial" charset="0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5"/>
          <p:cNvSpPr>
            <a:spLocks noGrp="1" noChangeArrowheads="1"/>
          </p:cNvSpPr>
          <p:nvPr>
            <p:ph type="dt" sz="quarter" idx="10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fr-FR" smtClean="0"/>
              <a:t>22/04/2015</a:t>
            </a:r>
            <a:endParaRPr lang="fr-FR" dirty="0"/>
          </a:p>
        </p:txBody>
      </p:sp>
      <p:sp>
        <p:nvSpPr>
          <p:cNvPr id="3686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57213" y="2085975"/>
            <a:ext cx="8407400" cy="2681288"/>
          </a:xfrm>
        </p:spPr>
        <p:txBody>
          <a:bodyPr/>
          <a:lstStyle/>
          <a:p>
            <a:pPr eaLnBrk="1" hangingPunct="1"/>
            <a:r>
              <a:rPr lang="fr-FR" dirty="0" err="1" smtClean="0"/>
              <a:t>CoPIL</a:t>
            </a:r>
            <a:r>
              <a:rPr lang="fr-FR" dirty="0" smtClean="0"/>
              <a:t> Evolution des kits projets</a:t>
            </a:r>
            <a:endParaRPr lang="fr-FR" sz="2000" dirty="0" smtClean="0">
              <a:solidFill>
                <a:srgbClr val="000000"/>
              </a:solidFill>
            </a:endParaRPr>
          </a:p>
        </p:txBody>
      </p:sp>
      <p:sp>
        <p:nvSpPr>
          <p:cNvPr id="36868" name="Rectangle 3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pPr eaLnBrk="1" hangingPunct="1">
              <a:buFont typeface="Wingdings" pitchFamily="2" charset="2"/>
              <a:buNone/>
            </a:pPr>
            <a:r>
              <a:rPr lang="fr-FR" smtClean="0"/>
              <a:t>GTS – Global Technology Services</a:t>
            </a:r>
          </a:p>
        </p:txBody>
      </p:sp>
      <p:sp>
        <p:nvSpPr>
          <p:cNvPr id="36869" name="Rectangle 4"/>
          <p:cNvSpPr>
            <a:spLocks noChangeArrowheads="1"/>
          </p:cNvSpPr>
          <p:nvPr/>
        </p:nvSpPr>
        <p:spPr bwMode="gray">
          <a:xfrm>
            <a:off x="574675" y="128588"/>
            <a:ext cx="3925888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r"/>
            <a:r>
              <a:rPr lang="fr-FR" sz="1100" b="1"/>
              <a:t>C2</a:t>
            </a:r>
          </a:p>
        </p:txBody>
      </p:sp>
      <p:sp>
        <p:nvSpPr>
          <p:cNvPr id="6" name="Espace réservé du numéro de diapositive 4"/>
          <p:cNvSpPr txBox="1">
            <a:spLocks noGrp="1"/>
          </p:cNvSpPr>
          <p:nvPr/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r>
              <a:rPr lang="fr-FR" sz="800" b="1"/>
              <a:t>P.</a:t>
            </a:r>
            <a:fld id="{C5494252-96C3-48D7-A189-D539F995B593}" type="slidenum">
              <a:rPr lang="fr-FR" sz="800" b="1"/>
              <a:pPr algn="r"/>
              <a:t>1</a:t>
            </a:fld>
            <a:endParaRPr lang="fr-FR" sz="800" b="1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908050"/>
            <a:ext cx="8029575" cy="574675"/>
          </a:xfrm>
        </p:spPr>
        <p:txBody>
          <a:bodyPr/>
          <a:lstStyle/>
          <a:p>
            <a:pPr eaLnBrk="1" hangingPunct="1"/>
            <a:r>
              <a:rPr lang="fr-FR" dirty="0" smtClean="0"/>
              <a:t>SOMMAIRE</a:t>
            </a:r>
          </a:p>
        </p:txBody>
      </p:sp>
      <p:sp>
        <p:nvSpPr>
          <p:cNvPr id="3789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7213" y="1773238"/>
            <a:ext cx="8335962" cy="4176712"/>
          </a:xfrm>
        </p:spPr>
        <p:txBody>
          <a:bodyPr/>
          <a:lstStyle/>
          <a:p>
            <a:pPr marL="342900" indent="-342900" eaLnBrk="1" hangingPunct="1"/>
            <a:r>
              <a:rPr lang="fr-FR" b="0" dirty="0" smtClean="0"/>
              <a:t>CHAPITRE 1 Objectif du projet Evolution des kits projets</a:t>
            </a:r>
          </a:p>
          <a:p>
            <a:pPr marL="342900" indent="-342900" eaLnBrk="1" hangingPunct="1"/>
            <a:r>
              <a:rPr lang="fr-FR" b="0" dirty="0" smtClean="0"/>
              <a:t>CHAPITRE </a:t>
            </a:r>
            <a:r>
              <a:rPr lang="fr-FR" b="0" dirty="0" smtClean="0"/>
              <a:t>2 </a:t>
            </a:r>
            <a:r>
              <a:rPr lang="fr-FR" b="0" dirty="0" err="1" smtClean="0"/>
              <a:t>Executive</a:t>
            </a:r>
            <a:r>
              <a:rPr lang="fr-FR" b="0" dirty="0" smtClean="0"/>
              <a:t> </a:t>
            </a:r>
            <a:r>
              <a:rPr lang="fr-FR" b="0" dirty="0" err="1" smtClean="0"/>
              <a:t>summary</a:t>
            </a:r>
            <a:endParaRPr lang="fr-FR" b="0" dirty="0" smtClean="0"/>
          </a:p>
          <a:p>
            <a:pPr marL="342900" indent="-342900" eaLnBrk="1" hangingPunct="1"/>
            <a:r>
              <a:rPr lang="fr-FR" altLang="ja-JP" b="0" dirty="0" smtClean="0"/>
              <a:t>CHAPITRE 3 </a:t>
            </a:r>
            <a:r>
              <a:rPr lang="fr-FR" b="0" dirty="0" smtClean="0"/>
              <a:t>Planning </a:t>
            </a:r>
            <a:endParaRPr lang="fr-FR" altLang="ja-JP" b="0" dirty="0" smtClean="0"/>
          </a:p>
          <a:p>
            <a:pPr marL="342900" indent="-342900" eaLnBrk="1" hangingPunct="1"/>
            <a:r>
              <a:rPr lang="fr-FR" b="0" dirty="0" smtClean="0"/>
              <a:t>CHAPITRE 4 </a:t>
            </a:r>
            <a:r>
              <a:rPr lang="fr-FR" b="0" dirty="0" smtClean="0"/>
              <a:t>Suivi des risques</a:t>
            </a:r>
            <a:endParaRPr lang="fr-FR" b="0" dirty="0" smtClean="0"/>
          </a:p>
          <a:p>
            <a:pPr marL="342900" indent="-342900" eaLnBrk="1" hangingPunct="1"/>
            <a:r>
              <a:rPr lang="fr-FR" b="0" dirty="0" smtClean="0"/>
              <a:t>ANNEXES</a:t>
            </a:r>
            <a:endParaRPr lang="fr-FR" b="0" dirty="0" smtClean="0"/>
          </a:p>
          <a:p>
            <a:pPr marL="342900" indent="-342900" eaLnBrk="1" hangingPunct="1"/>
            <a:endParaRPr lang="fr-FR" b="0" dirty="0" smtClean="0"/>
          </a:p>
          <a:p>
            <a:pPr marL="342900" indent="-342900" eaLnBrk="1" hangingPunct="1"/>
            <a:endParaRPr lang="fr-FR" b="0" dirty="0" smtClean="0"/>
          </a:p>
          <a:p>
            <a:pPr marL="342900" indent="-342900" eaLnBrk="1" hangingPunct="1"/>
            <a:r>
              <a:rPr lang="fr-FR" b="0" dirty="0" smtClean="0"/>
              <a:t>	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>
          <a:xfrm>
            <a:off x="6516216" y="6416675"/>
            <a:ext cx="1814512" cy="441325"/>
          </a:xfrm>
        </p:spPr>
        <p:txBody>
          <a:bodyPr/>
          <a:lstStyle/>
          <a:p>
            <a:r>
              <a:rPr lang="fr-FR" dirty="0" smtClean="0"/>
              <a:t>22/04/2015</a:t>
            </a:r>
            <a:endParaRPr lang="fr-FR" dirty="0"/>
          </a:p>
        </p:txBody>
      </p:sp>
      <p:sp>
        <p:nvSpPr>
          <p:cNvPr id="5" name="Espace réservé du numéro de diapositive 4"/>
          <p:cNvSpPr txBox="1">
            <a:spLocks noGrp="1"/>
          </p:cNvSpPr>
          <p:nvPr/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r>
              <a:rPr lang="fr-FR" sz="800" b="1"/>
              <a:t>P.</a:t>
            </a:r>
            <a:fld id="{C5494252-96C3-48D7-A189-D539F995B593}" type="slidenum">
              <a:rPr lang="fr-FR" sz="800" b="1"/>
              <a:pPr algn="r"/>
              <a:t>2</a:t>
            </a:fld>
            <a:endParaRPr lang="fr-FR" sz="800" b="1"/>
          </a:p>
        </p:txBody>
      </p:sp>
      <p:sp>
        <p:nvSpPr>
          <p:cNvPr id="6" name="Espace réservé du pied de page 3"/>
          <p:cNvSpPr txBox="1">
            <a:spLocks noGrp="1"/>
          </p:cNvSpPr>
          <p:nvPr/>
        </p:nvSpPr>
        <p:spPr bwMode="gray">
          <a:xfrm>
            <a:off x="2771775" y="6416675"/>
            <a:ext cx="3597275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r>
              <a:rPr lang="fr-FR" sz="800" dirty="0"/>
              <a:t>C2  |  </a:t>
            </a:r>
            <a:r>
              <a:rPr lang="fr-FR" sz="800" dirty="0" smtClean="0"/>
              <a:t>EVOLUTION DES KITS PROJETS</a:t>
            </a:r>
            <a:endParaRPr lang="fr-FR" sz="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40" name="Rectangle 2"/>
          <p:cNvSpPr>
            <a:spLocks noGrp="1" noChangeArrowheads="1"/>
          </p:cNvSpPr>
          <p:nvPr>
            <p:ph type="title"/>
          </p:nvPr>
        </p:nvSpPr>
        <p:spPr>
          <a:xfrm>
            <a:off x="323850" y="260350"/>
            <a:ext cx="8496300" cy="500063"/>
          </a:xfrm>
        </p:spPr>
        <p:txBody>
          <a:bodyPr/>
          <a:lstStyle/>
          <a:p>
            <a:pPr eaLnBrk="1" hangingPunct="1"/>
            <a:r>
              <a:rPr lang="fr-FR" b="0" dirty="0" smtClean="0"/>
              <a:t>OBJECTIFS DU PROJET</a:t>
            </a:r>
          </a:p>
        </p:txBody>
      </p:sp>
      <p:sp>
        <p:nvSpPr>
          <p:cNvPr id="39941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323528" y="980728"/>
            <a:ext cx="8047038" cy="4897438"/>
          </a:xfrm>
        </p:spPr>
        <p:txBody>
          <a:bodyPr/>
          <a:lstStyle/>
          <a:p>
            <a:pPr eaLnBrk="1" hangingPunct="1">
              <a:spcBef>
                <a:spcPts val="0"/>
              </a:spcBef>
            </a:pPr>
            <a:r>
              <a:rPr lang="fr-FR" sz="1800" dirty="0" smtClean="0"/>
              <a:t>Contexte</a:t>
            </a:r>
          </a:p>
          <a:p>
            <a:pPr lvl="1" eaLnBrk="1" hangingPunct="1">
              <a:spcBef>
                <a:spcPts val="0"/>
              </a:spcBef>
            </a:pPr>
            <a:r>
              <a:rPr lang="fr-FR" sz="1400" dirty="0" smtClean="0"/>
              <a:t>Le kit projet est l’outils de pilotage projet des SPM utilisé pour le suivi des projets métiers et projets techniques pour API/DIS. Il intègre dans un même document  les fonctions essentielle du suivi de projet c’est-à-dire le budget </a:t>
            </a:r>
            <a:r>
              <a:rPr lang="fr-FR" sz="1400" dirty="0" err="1" smtClean="0"/>
              <a:t>jh</a:t>
            </a:r>
            <a:r>
              <a:rPr lang="fr-FR" sz="1400" dirty="0" smtClean="0"/>
              <a:t>, plan de charge, planning et suivi de risques.</a:t>
            </a:r>
          </a:p>
          <a:p>
            <a:pPr lvl="1" eaLnBrk="1" hangingPunct="1">
              <a:spcBef>
                <a:spcPts val="0"/>
              </a:spcBef>
            </a:pPr>
            <a:r>
              <a:rPr lang="fr-FR" sz="1400" dirty="0" smtClean="0"/>
              <a:t>La consolidation des kits projets par domaines d’intégration bancaire (DIB) alimente les comités de pilotage AM hebdomadaires et présente une vue consolidée du plan de charge projet par DIB</a:t>
            </a:r>
          </a:p>
          <a:p>
            <a:pPr lvl="1" eaLnBrk="1" hangingPunct="1">
              <a:spcBef>
                <a:spcPts val="0"/>
              </a:spcBef>
            </a:pPr>
            <a:endParaRPr lang="fr-FR" sz="1400" dirty="0" smtClean="0"/>
          </a:p>
          <a:p>
            <a:pPr lvl="1" eaLnBrk="1" hangingPunct="1">
              <a:spcBef>
                <a:spcPts val="0"/>
              </a:spcBef>
            </a:pPr>
            <a:r>
              <a:rPr lang="fr-FR" sz="1400" dirty="0" smtClean="0"/>
              <a:t>Développé aujourd’hui sous Excel, le Kit projet ne peut plus évoluer ni répondre à la volonté d’étendre son usage à d’autres entités. Le stage de Julien consiste à étudier et valider le fonctionnement du Kit projet en mode site web</a:t>
            </a:r>
          </a:p>
          <a:p>
            <a:pPr lvl="1" eaLnBrk="1" hangingPunct="1">
              <a:spcBef>
                <a:spcPts val="0"/>
              </a:spcBef>
            </a:pPr>
            <a:endParaRPr lang="fr-FR" sz="1400" dirty="0" smtClean="0"/>
          </a:p>
          <a:p>
            <a:pPr eaLnBrk="1" hangingPunct="1">
              <a:spcBef>
                <a:spcPts val="0"/>
              </a:spcBef>
            </a:pPr>
            <a:r>
              <a:rPr lang="fr-FR" sz="1800" dirty="0" smtClean="0"/>
              <a:t>Objectifs (sujet du stage)</a:t>
            </a:r>
            <a:endParaRPr lang="fr-FR" sz="1800" dirty="0" smtClean="0"/>
          </a:p>
          <a:p>
            <a:pPr lvl="1" eaLnBrk="1" hangingPunct="1">
              <a:spcBef>
                <a:spcPts val="0"/>
              </a:spcBef>
              <a:buFont typeface="Wingdings" pitchFamily="2" charset="2"/>
              <a:buChar char="§"/>
            </a:pPr>
            <a:r>
              <a:rPr lang="fr-FR" sz="1400" dirty="0" smtClean="0"/>
              <a:t>Comprendre le fonctionnement et les limites du kit projet dans sa forme actuelle.</a:t>
            </a:r>
          </a:p>
          <a:p>
            <a:pPr lvl="1" eaLnBrk="1" hangingPunct="1">
              <a:spcBef>
                <a:spcPts val="0"/>
              </a:spcBef>
              <a:buFont typeface="Wingdings" pitchFamily="2" charset="2"/>
              <a:buChar char="§"/>
            </a:pPr>
            <a:r>
              <a:rPr lang="fr-FR" sz="1400" dirty="0" smtClean="0"/>
              <a:t>Etude de Conception du nouvel outil</a:t>
            </a:r>
          </a:p>
          <a:p>
            <a:pPr lvl="1" eaLnBrk="1" hangingPunct="1">
              <a:spcBef>
                <a:spcPts val="0"/>
              </a:spcBef>
              <a:buFont typeface="Wingdings" pitchFamily="2" charset="2"/>
              <a:buChar char="§"/>
            </a:pPr>
            <a:r>
              <a:rPr lang="fr-FR" sz="1400" dirty="0" smtClean="0"/>
              <a:t>Etudier et proposer les technologies à employer en respectant les contraintes existantes au sein de la Société générale</a:t>
            </a:r>
          </a:p>
          <a:p>
            <a:pPr lvl="1" eaLnBrk="1" hangingPunct="1">
              <a:spcBef>
                <a:spcPts val="0"/>
              </a:spcBef>
              <a:buFont typeface="Wingdings" pitchFamily="2" charset="2"/>
              <a:buChar char="§"/>
            </a:pPr>
            <a:r>
              <a:rPr lang="fr-FR" sz="1400" dirty="0" smtClean="0"/>
              <a:t>Développer le nouvel outil</a:t>
            </a:r>
          </a:p>
          <a:p>
            <a:pPr lvl="1" eaLnBrk="1" hangingPunct="1">
              <a:spcBef>
                <a:spcPts val="0"/>
              </a:spcBef>
              <a:buFont typeface="Wingdings" pitchFamily="2" charset="2"/>
              <a:buChar char="§"/>
            </a:pPr>
            <a:r>
              <a:rPr lang="fr-FR" sz="1400" dirty="0" smtClean="0"/>
              <a:t>Former les chefs de projet à l’utilisation de l’outil</a:t>
            </a:r>
          </a:p>
          <a:p>
            <a:pPr lvl="1" eaLnBrk="1" hangingPunct="1">
              <a:spcBef>
                <a:spcPts val="0"/>
              </a:spcBef>
              <a:buFont typeface="Wingdings" pitchFamily="2" charset="2"/>
              <a:buChar char="§"/>
            </a:pPr>
            <a:r>
              <a:rPr lang="fr-FR" sz="1400" dirty="0" smtClean="0"/>
              <a:t>Rédiger l’ensemble des documentations nécessaire à la maintenance et à l’utilisation de l’outil</a:t>
            </a:r>
          </a:p>
          <a:p>
            <a:pPr lvl="1" eaLnBrk="1" hangingPunct="1">
              <a:spcBef>
                <a:spcPts val="0"/>
              </a:spcBef>
            </a:pPr>
            <a:endParaRPr lang="fr-FR" dirty="0" smtClean="0"/>
          </a:p>
          <a:p>
            <a:pPr lvl="2" eaLnBrk="1" hangingPunct="1">
              <a:spcBef>
                <a:spcPts val="0"/>
              </a:spcBef>
            </a:pPr>
            <a:endParaRPr lang="fr-FR" dirty="0" smtClean="0"/>
          </a:p>
          <a:p>
            <a:pPr lvl="2" eaLnBrk="1" hangingPunct="1">
              <a:spcBef>
                <a:spcPts val="0"/>
              </a:spcBef>
            </a:pPr>
            <a:endParaRPr lang="fr-FR" dirty="0" smtClean="0"/>
          </a:p>
        </p:txBody>
      </p:sp>
      <p:sp>
        <p:nvSpPr>
          <p:cNvPr id="7" name="Espace réservé de la date 6"/>
          <p:cNvSpPr txBox="1">
            <a:spLocks/>
          </p:cNvSpPr>
          <p:nvPr/>
        </p:nvSpPr>
        <p:spPr bwMode="gray">
          <a:xfrm>
            <a:off x="6516216" y="6416675"/>
            <a:ext cx="1814512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r">
              <a:defRPr/>
            </a:pPr>
            <a:r>
              <a:rPr lang="fr-FR" sz="800" dirty="0" smtClean="0"/>
              <a:t>22/04/2015</a:t>
            </a:r>
            <a:endParaRPr kumimoji="0" lang="fr-FR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-128"/>
              <a:cs typeface="+mn-cs"/>
            </a:endParaRPr>
          </a:p>
        </p:txBody>
      </p:sp>
      <p:sp>
        <p:nvSpPr>
          <p:cNvPr id="5" name="Espace réservé du numéro de diapositive 4"/>
          <p:cNvSpPr txBox="1">
            <a:spLocks noGrp="1"/>
          </p:cNvSpPr>
          <p:nvPr/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r>
              <a:rPr lang="fr-FR" sz="800" b="1"/>
              <a:t>P.</a:t>
            </a:r>
            <a:fld id="{C5494252-96C3-48D7-A189-D539F995B593}" type="slidenum">
              <a:rPr lang="fr-FR" sz="800" b="1"/>
              <a:pPr algn="r"/>
              <a:t>3</a:t>
            </a:fld>
            <a:endParaRPr lang="fr-FR" sz="800" b="1"/>
          </a:p>
        </p:txBody>
      </p:sp>
      <p:sp>
        <p:nvSpPr>
          <p:cNvPr id="6" name="Espace réservé du pied de page 3"/>
          <p:cNvSpPr txBox="1">
            <a:spLocks noGrp="1"/>
          </p:cNvSpPr>
          <p:nvPr/>
        </p:nvSpPr>
        <p:spPr bwMode="gray">
          <a:xfrm>
            <a:off x="2771775" y="6416675"/>
            <a:ext cx="3597275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r>
              <a:rPr lang="fr-FR" sz="800" dirty="0"/>
              <a:t>C2  |  </a:t>
            </a:r>
            <a:r>
              <a:rPr lang="fr-FR" sz="800" dirty="0" smtClean="0"/>
              <a:t>EVOLUTION DES KITS PROJETS</a:t>
            </a:r>
            <a:endParaRPr lang="fr-FR" sz="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8626" name="Espace réservé du numéro de diapositive 2"/>
          <p:cNvSpPr txBox="1">
            <a:spLocks noGrp="1"/>
          </p:cNvSpPr>
          <p:nvPr/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r>
              <a:rPr lang="fr-FR" sz="800" b="1"/>
              <a:t>P.</a:t>
            </a:r>
            <a:fld id="{E6D26659-B040-412A-B23E-A8FEDBE209B4}" type="slidenum">
              <a:rPr lang="fr-FR" sz="800" b="1"/>
              <a:pPr algn="r"/>
              <a:t>4</a:t>
            </a:fld>
            <a:endParaRPr lang="fr-FR" sz="800" b="1"/>
          </a:p>
        </p:txBody>
      </p:sp>
      <p:sp>
        <p:nvSpPr>
          <p:cNvPr id="538629" name="Title 1"/>
          <p:cNvSpPr>
            <a:spLocks/>
          </p:cNvSpPr>
          <p:nvPr/>
        </p:nvSpPr>
        <p:spPr bwMode="gray">
          <a:xfrm>
            <a:off x="323850" y="188913"/>
            <a:ext cx="8604250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l"/>
            <a:r>
              <a:rPr lang="fr-FR" sz="1600" dirty="0" smtClean="0">
                <a:solidFill>
                  <a:srgbClr val="E60028"/>
                </a:solidFill>
              </a:rPr>
              <a:t>EXECUTIVE </a:t>
            </a:r>
            <a:r>
              <a:rPr lang="fr-FR" sz="1600" dirty="0">
                <a:solidFill>
                  <a:srgbClr val="E60028"/>
                </a:solidFill>
              </a:rPr>
              <a:t>SUMMARY</a:t>
            </a:r>
          </a:p>
        </p:txBody>
      </p:sp>
      <p:sp>
        <p:nvSpPr>
          <p:cNvPr id="7" name="Content Placeholder 195"/>
          <p:cNvSpPr txBox="1">
            <a:spLocks/>
          </p:cNvSpPr>
          <p:nvPr/>
        </p:nvSpPr>
        <p:spPr bwMode="gray">
          <a:xfrm>
            <a:off x="323850" y="836613"/>
            <a:ext cx="8208963" cy="5364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80975" indent="-180975" algn="l" eaLnBrk="0" hangingPunct="0">
              <a:lnSpc>
                <a:spcPct val="150000"/>
              </a:lnSpc>
              <a:buClr>
                <a:srgbClr val="666666"/>
              </a:buClr>
              <a:buFont typeface="Wingdings" pitchFamily="2" charset="2"/>
              <a:buChar char="§"/>
            </a:pPr>
            <a:r>
              <a:rPr lang="fr-FR" sz="1200" b="1" dirty="0" smtClean="0">
                <a:solidFill>
                  <a:srgbClr val="000000"/>
                </a:solidFill>
                <a:ea typeface="ＭＳ Ｐゴシック" pitchFamily="34" charset="-128"/>
              </a:rPr>
              <a:t>Points </a:t>
            </a:r>
            <a:r>
              <a:rPr lang="fr-FR" sz="1200" b="1" dirty="0">
                <a:solidFill>
                  <a:srgbClr val="000000"/>
                </a:solidFill>
                <a:ea typeface="ＭＳ Ｐゴシック" pitchFamily="34" charset="-128"/>
              </a:rPr>
              <a:t>de situation </a:t>
            </a:r>
            <a:r>
              <a:rPr lang="fr-FR" sz="1200" b="1" dirty="0" smtClean="0">
                <a:solidFill>
                  <a:srgbClr val="000000"/>
                </a:solidFill>
                <a:ea typeface="ＭＳ Ｐゴシック" pitchFamily="34" charset="-128"/>
              </a:rPr>
              <a:t>du projet</a:t>
            </a:r>
            <a:endParaRPr lang="fr-FR" sz="1200" b="1" dirty="0">
              <a:solidFill>
                <a:srgbClr val="000000"/>
              </a:solidFill>
              <a:ea typeface="ＭＳ Ｐゴシック" pitchFamily="34" charset="-128"/>
            </a:endParaRPr>
          </a:p>
          <a:p>
            <a:pPr marL="742950" lvl="1" indent="-285750" algn="l" eaLnBrk="0" hangingPunct="0">
              <a:lnSpc>
                <a:spcPct val="150000"/>
              </a:lnSpc>
              <a:buClr>
                <a:srgbClr val="666666"/>
              </a:buClr>
              <a:buFont typeface="Wingdings" pitchFamily="2" charset="2"/>
              <a:buChar char="§"/>
            </a:pPr>
            <a:r>
              <a:rPr lang="fr-FR" sz="1000" b="1" dirty="0" smtClean="0"/>
              <a:t>Réalisation des spécifications fonctionnelles</a:t>
            </a:r>
          </a:p>
          <a:p>
            <a:pPr marL="1200150" lvl="2" indent="-285750" algn="l" eaLnBrk="0" hangingPunct="0">
              <a:lnSpc>
                <a:spcPct val="150000"/>
              </a:lnSpc>
              <a:buClr>
                <a:srgbClr val="666666"/>
              </a:buClr>
              <a:buFont typeface="Wingdings" pitchFamily="2" charset="2"/>
              <a:buChar char="§"/>
            </a:pPr>
            <a:r>
              <a:rPr lang="fr-FR" sz="1000" dirty="0" smtClean="0"/>
              <a:t>Maquettes </a:t>
            </a:r>
            <a:r>
              <a:rPr lang="fr-FR" sz="1000" dirty="0" smtClean="0"/>
              <a:t>écrans détaillées</a:t>
            </a:r>
          </a:p>
          <a:p>
            <a:pPr marL="1200150" lvl="2" indent="-285750" algn="l" eaLnBrk="0" hangingPunct="0">
              <a:lnSpc>
                <a:spcPct val="150000"/>
              </a:lnSpc>
              <a:buClr>
                <a:srgbClr val="666666"/>
              </a:buClr>
              <a:buFont typeface="Wingdings" pitchFamily="2" charset="2"/>
              <a:buChar char="§"/>
            </a:pPr>
            <a:r>
              <a:rPr lang="fr-FR" sz="1000" dirty="0" smtClean="0">
                <a:solidFill>
                  <a:srgbClr val="000000"/>
                </a:solidFill>
                <a:ea typeface="ＭＳ Ｐゴシック" pitchFamily="34" charset="-128"/>
              </a:rPr>
              <a:t>Comparatif PHP v CMS</a:t>
            </a:r>
          </a:p>
          <a:p>
            <a:pPr marL="1200150" lvl="2" indent="-285750" algn="l" eaLnBrk="0" hangingPunct="0">
              <a:lnSpc>
                <a:spcPct val="150000"/>
              </a:lnSpc>
              <a:buClr>
                <a:srgbClr val="666666"/>
              </a:buClr>
              <a:buFont typeface="Wingdings" pitchFamily="2" charset="2"/>
              <a:buChar char="§"/>
            </a:pPr>
            <a:r>
              <a:rPr lang="fr-FR" sz="1000" dirty="0" smtClean="0"/>
              <a:t>Liste des fonctionnalités : </a:t>
            </a:r>
            <a:r>
              <a:rPr lang="fr-FR" sz="1000" dirty="0" err="1" smtClean="0"/>
              <a:t>Cf</a:t>
            </a:r>
            <a:r>
              <a:rPr lang="fr-FR" sz="1000" dirty="0" smtClean="0"/>
              <a:t> compte-rendu des réunions.</a:t>
            </a:r>
          </a:p>
          <a:p>
            <a:pPr marL="1200150" lvl="2" indent="-285750" algn="l" eaLnBrk="0" hangingPunct="0">
              <a:lnSpc>
                <a:spcPct val="150000"/>
              </a:lnSpc>
              <a:buClr>
                <a:srgbClr val="666666"/>
              </a:buClr>
              <a:buFont typeface="Wingdings" pitchFamily="2" charset="2"/>
              <a:buChar char="§"/>
            </a:pPr>
            <a:r>
              <a:rPr lang="fr-FR" sz="1000" dirty="0" smtClean="0">
                <a:solidFill>
                  <a:srgbClr val="000000"/>
                </a:solidFill>
                <a:ea typeface="ＭＳ Ｐゴシック" pitchFamily="34" charset="-128"/>
              </a:rPr>
              <a:t>Diagramme des </a:t>
            </a:r>
            <a:r>
              <a:rPr lang="fr-FR" sz="1000" dirty="0" err="1" smtClean="0">
                <a:solidFill>
                  <a:srgbClr val="000000"/>
                </a:solidFill>
                <a:ea typeface="ＭＳ Ｐゴシック" pitchFamily="34" charset="-128"/>
              </a:rPr>
              <a:t>flows</a:t>
            </a:r>
            <a:r>
              <a:rPr lang="fr-FR" sz="1000" dirty="0" smtClean="0">
                <a:solidFill>
                  <a:srgbClr val="000000"/>
                </a:solidFill>
                <a:ea typeface="ＭＳ Ｐゴシック" pitchFamily="34" charset="-128"/>
              </a:rPr>
              <a:t> : Diagramme représentant l’interaction entre l’utilisateur et l’application.</a:t>
            </a:r>
          </a:p>
          <a:p>
            <a:pPr marL="1200150" lvl="2" indent="-285750" algn="l" eaLnBrk="0" hangingPunct="0">
              <a:lnSpc>
                <a:spcPct val="150000"/>
              </a:lnSpc>
              <a:buClr>
                <a:srgbClr val="666666"/>
              </a:buClr>
              <a:buFont typeface="Wingdings" pitchFamily="2" charset="2"/>
              <a:buChar char="§"/>
            </a:pPr>
            <a:r>
              <a:rPr lang="fr-FR" sz="1000" dirty="0" smtClean="0"/>
              <a:t>MCD </a:t>
            </a:r>
            <a:r>
              <a:rPr lang="fr-FR" sz="1000" dirty="0" smtClean="0"/>
              <a:t>global: MCD réalisé mais sans détails (avec les principales tables) avec Sebastien. Le MCD détaillé est rédigé au fur et à mesure du développement.</a:t>
            </a:r>
          </a:p>
          <a:p>
            <a:pPr marL="742950" lvl="1" indent="-285750" algn="l" eaLnBrk="0" hangingPunct="0">
              <a:lnSpc>
                <a:spcPct val="150000"/>
              </a:lnSpc>
              <a:buClr>
                <a:srgbClr val="666666"/>
              </a:buClr>
              <a:buFont typeface="Wingdings" pitchFamily="2" charset="2"/>
              <a:buChar char="§"/>
            </a:pPr>
            <a:r>
              <a:rPr lang="fr-FR" sz="1000" b="1" dirty="0" smtClean="0"/>
              <a:t>Avancement de l’auto-formation</a:t>
            </a:r>
          </a:p>
          <a:p>
            <a:pPr marL="1200150" lvl="2" indent="-285750" algn="l" eaLnBrk="0" hangingPunct="0">
              <a:lnSpc>
                <a:spcPct val="150000"/>
              </a:lnSpc>
              <a:buClr>
                <a:srgbClr val="666666"/>
              </a:buClr>
              <a:buFont typeface="Wingdings" pitchFamily="2" charset="2"/>
              <a:buChar char="§"/>
            </a:pPr>
            <a:r>
              <a:rPr lang="fr-FR" sz="1000" dirty="0" smtClean="0"/>
              <a:t>Apprentissage de PHP terminé. Apprentissage des librairies PHP en cours.</a:t>
            </a:r>
          </a:p>
          <a:p>
            <a:pPr marL="1200150" lvl="2" indent="-285750" algn="l" eaLnBrk="0" hangingPunct="0">
              <a:lnSpc>
                <a:spcPct val="150000"/>
              </a:lnSpc>
              <a:buClr>
                <a:srgbClr val="666666"/>
              </a:buClr>
              <a:buFont typeface="Wingdings" pitchFamily="2" charset="2"/>
              <a:buChar char="§"/>
            </a:pPr>
            <a:r>
              <a:rPr lang="fr-FR" sz="1000" dirty="0" smtClean="0"/>
              <a:t>Choisir outil : PHP sans CMS choisi pour un gain de temps niveau formation.</a:t>
            </a:r>
          </a:p>
          <a:p>
            <a:pPr marL="742950" lvl="1" indent="-285750" algn="l" eaLnBrk="0" hangingPunct="0">
              <a:lnSpc>
                <a:spcPct val="150000"/>
              </a:lnSpc>
              <a:buClr>
                <a:srgbClr val="666666"/>
              </a:buClr>
              <a:buFont typeface="Wingdings" pitchFamily="2" charset="2"/>
              <a:buChar char="§"/>
            </a:pPr>
            <a:r>
              <a:rPr lang="fr-FR" sz="1000" b="1" dirty="0" smtClean="0"/>
              <a:t>Démarrage du développement</a:t>
            </a:r>
          </a:p>
          <a:p>
            <a:pPr marL="1200150" lvl="2" indent="-285750" algn="l" eaLnBrk="0" hangingPunct="0">
              <a:lnSpc>
                <a:spcPct val="150000"/>
              </a:lnSpc>
              <a:buClr>
                <a:srgbClr val="666666"/>
              </a:buClr>
              <a:buFont typeface="Wingdings" pitchFamily="2" charset="2"/>
              <a:buChar char="§"/>
            </a:pPr>
            <a:r>
              <a:rPr lang="fr-FR" sz="1000" dirty="0" smtClean="0"/>
              <a:t>Développement sur machine perso commencé le </a:t>
            </a:r>
            <a:r>
              <a:rPr lang="fr-FR" sz="1000" dirty="0" smtClean="0"/>
              <a:t>20/04/2015</a:t>
            </a:r>
          </a:p>
          <a:p>
            <a:pPr marL="742950" lvl="1" indent="-285750" algn="l" eaLnBrk="0" hangingPunct="0">
              <a:lnSpc>
                <a:spcPct val="150000"/>
              </a:lnSpc>
              <a:buClr>
                <a:srgbClr val="666666"/>
              </a:buClr>
              <a:buFont typeface="Wingdings" pitchFamily="2" charset="2"/>
              <a:buChar char="§"/>
            </a:pPr>
            <a:r>
              <a:rPr lang="fr-FR" sz="1000" b="1" dirty="0" smtClean="0">
                <a:solidFill>
                  <a:srgbClr val="000000"/>
                </a:solidFill>
                <a:ea typeface="ＭＳ Ｐゴシック" pitchFamily="34" charset="-128"/>
              </a:rPr>
              <a:t>Pilotage projet</a:t>
            </a:r>
            <a:endParaRPr lang="fr-FR" sz="1000" b="1" dirty="0" smtClean="0">
              <a:solidFill>
                <a:srgbClr val="000000"/>
              </a:solidFill>
              <a:ea typeface="ＭＳ Ｐゴシック" pitchFamily="34" charset="-128"/>
            </a:endParaRPr>
          </a:p>
          <a:p>
            <a:pPr marL="1200150" lvl="2" indent="-285750" algn="l" eaLnBrk="0" hangingPunct="0">
              <a:lnSpc>
                <a:spcPct val="150000"/>
              </a:lnSpc>
              <a:buClr>
                <a:srgbClr val="666666"/>
              </a:buClr>
              <a:buFont typeface="Wingdings" pitchFamily="2" charset="2"/>
              <a:buChar char="§"/>
            </a:pPr>
            <a:r>
              <a:rPr lang="fr-FR" sz="1000" dirty="0" smtClean="0">
                <a:solidFill>
                  <a:srgbClr val="000000"/>
                </a:solidFill>
                <a:ea typeface="ＭＳ Ｐゴシック" pitchFamily="34" charset="-128"/>
              </a:rPr>
              <a:t>Planning prévisionnel : Planning qui sera de plus en plus détaillé </a:t>
            </a:r>
            <a:r>
              <a:rPr lang="fr-FR" sz="1000" dirty="0" smtClean="0"/>
              <a:t>a</a:t>
            </a:r>
            <a:r>
              <a:rPr lang="fr-FR" sz="1000" dirty="0" smtClean="0">
                <a:solidFill>
                  <a:srgbClr val="000000"/>
                </a:solidFill>
                <a:ea typeface="ＭＳ Ｐゴシック" pitchFamily="34" charset="-128"/>
              </a:rPr>
              <a:t>u fur et à mesure.</a:t>
            </a:r>
          </a:p>
          <a:p>
            <a:pPr marL="1200150" lvl="2" indent="-285750" algn="l" eaLnBrk="0" hangingPunct="0">
              <a:lnSpc>
                <a:spcPct val="150000"/>
              </a:lnSpc>
              <a:buClr>
                <a:srgbClr val="666666"/>
              </a:buClr>
              <a:buFont typeface="Wingdings" pitchFamily="2" charset="2"/>
              <a:buChar char="§"/>
            </a:pPr>
            <a:r>
              <a:rPr lang="fr-FR" sz="1000" dirty="0" smtClean="0"/>
              <a:t>RACI : Responsabilités de chacun établies dans la gestion du projet.</a:t>
            </a:r>
          </a:p>
          <a:p>
            <a:pPr marL="1200150" lvl="2" indent="-285750" algn="l" eaLnBrk="0" hangingPunct="0">
              <a:lnSpc>
                <a:spcPct val="150000"/>
              </a:lnSpc>
              <a:buClr>
                <a:srgbClr val="666666"/>
              </a:buClr>
              <a:buFont typeface="Wingdings" pitchFamily="2" charset="2"/>
              <a:buChar char="§"/>
            </a:pPr>
            <a:endParaRPr lang="fr-FR" sz="1000" dirty="0">
              <a:solidFill>
                <a:srgbClr val="000000"/>
              </a:solidFill>
              <a:ea typeface="ＭＳ Ｐゴシック" pitchFamily="34" charset="-128"/>
            </a:endParaRPr>
          </a:p>
          <a:p>
            <a:pPr marL="180975" indent="-180975" algn="l" eaLnBrk="0" hangingPunct="0">
              <a:lnSpc>
                <a:spcPct val="150000"/>
              </a:lnSpc>
              <a:buClr>
                <a:srgbClr val="666666"/>
              </a:buClr>
              <a:buFont typeface="Wingdings" pitchFamily="2" charset="2"/>
              <a:buChar char="§"/>
            </a:pPr>
            <a:r>
              <a:rPr lang="fr-FR" sz="1200" b="1" dirty="0" smtClean="0">
                <a:solidFill>
                  <a:srgbClr val="000000"/>
                </a:solidFill>
                <a:ea typeface="ＭＳ Ｐゴシック" pitchFamily="34" charset="-128"/>
              </a:rPr>
              <a:t>Prochaines étapes</a:t>
            </a:r>
            <a:endParaRPr lang="fr-FR" sz="1200" b="1" dirty="0">
              <a:solidFill>
                <a:srgbClr val="000000"/>
              </a:solidFill>
              <a:ea typeface="ＭＳ Ｐゴシック" pitchFamily="34" charset="-128"/>
            </a:endParaRPr>
          </a:p>
          <a:p>
            <a:pPr marL="742950" lvl="1" indent="-285750" algn="l" eaLnBrk="0" hangingPunct="0">
              <a:lnSpc>
                <a:spcPct val="150000"/>
              </a:lnSpc>
              <a:buClr>
                <a:srgbClr val="666666"/>
              </a:buClr>
              <a:buFont typeface="Wingdings" pitchFamily="2" charset="2"/>
              <a:buChar char="§"/>
            </a:pPr>
            <a:r>
              <a:rPr lang="fr-FR" sz="1000" b="1" u="sng" dirty="0" smtClean="0">
                <a:solidFill>
                  <a:srgbClr val="C00000"/>
                </a:solidFill>
                <a:ea typeface="ＭＳ Ｐゴシック" pitchFamily="34" charset="-128"/>
              </a:rPr>
              <a:t>Environnement de développement sur outillage SG</a:t>
            </a:r>
            <a:endParaRPr lang="fr-FR" sz="1000" b="1" u="sng" dirty="0" smtClean="0">
              <a:solidFill>
                <a:srgbClr val="C00000"/>
              </a:solidFill>
              <a:ea typeface="ＭＳ Ｐゴシック" pitchFamily="34" charset="-128"/>
            </a:endParaRPr>
          </a:p>
          <a:p>
            <a:pPr marL="1200150" lvl="2" indent="-285750" algn="l" eaLnBrk="0" hangingPunct="0">
              <a:lnSpc>
                <a:spcPct val="150000"/>
              </a:lnSpc>
              <a:buClr>
                <a:srgbClr val="666666"/>
              </a:buClr>
              <a:buFont typeface="Wingdings" pitchFamily="2" charset="2"/>
              <a:buChar char="§"/>
            </a:pPr>
            <a:r>
              <a:rPr lang="fr-FR" sz="1000" dirty="0" smtClean="0">
                <a:solidFill>
                  <a:srgbClr val="000000"/>
                </a:solidFill>
                <a:ea typeface="ＭＳ Ｐゴシック" pitchFamily="34" charset="-128"/>
              </a:rPr>
              <a:t>Avoir un serveur apache fonctionnel pour </a:t>
            </a:r>
            <a:r>
              <a:rPr lang="fr-FR" sz="1000" dirty="0" smtClean="0">
                <a:solidFill>
                  <a:srgbClr val="000000"/>
                </a:solidFill>
                <a:ea typeface="ＭＳ Ｐゴシック" pitchFamily="34" charset="-128"/>
              </a:rPr>
              <a:t>développer dans l’environnement SG.</a:t>
            </a:r>
            <a:endParaRPr lang="fr-FR" sz="1000" b="1" dirty="0" smtClean="0">
              <a:solidFill>
                <a:srgbClr val="000000"/>
              </a:solidFill>
              <a:ea typeface="ＭＳ Ｐゴシック" pitchFamily="34" charset="-128"/>
            </a:endParaRPr>
          </a:p>
          <a:p>
            <a:pPr marL="742950" lvl="1" indent="-285750" algn="l" eaLnBrk="0" hangingPunct="0">
              <a:lnSpc>
                <a:spcPct val="150000"/>
              </a:lnSpc>
              <a:buClr>
                <a:srgbClr val="666666"/>
              </a:buClr>
              <a:buFont typeface="Wingdings" pitchFamily="2" charset="2"/>
              <a:buChar char="§"/>
            </a:pPr>
            <a:r>
              <a:rPr lang="fr-FR" sz="1000" b="1" dirty="0" smtClean="0">
                <a:solidFill>
                  <a:srgbClr val="000000"/>
                </a:solidFill>
                <a:ea typeface="ＭＳ Ｐゴシック" pitchFamily="34" charset="-128"/>
              </a:rPr>
              <a:t>Poursuite</a:t>
            </a:r>
            <a:r>
              <a:rPr lang="fr-FR" sz="1000" dirty="0" smtClean="0">
                <a:solidFill>
                  <a:srgbClr val="000000"/>
                </a:solidFill>
                <a:ea typeface="ＭＳ Ｐゴシック" pitchFamily="34" charset="-128"/>
              </a:rPr>
              <a:t> </a:t>
            </a:r>
            <a:r>
              <a:rPr lang="fr-FR" sz="1000" b="1" dirty="0" smtClean="0">
                <a:solidFill>
                  <a:srgbClr val="000000"/>
                </a:solidFill>
                <a:ea typeface="ＭＳ Ｐゴシック" pitchFamily="34" charset="-128"/>
              </a:rPr>
              <a:t>du</a:t>
            </a:r>
            <a:r>
              <a:rPr lang="fr-FR" sz="1000" dirty="0" smtClean="0">
                <a:solidFill>
                  <a:srgbClr val="000000"/>
                </a:solidFill>
                <a:ea typeface="ＭＳ Ｐゴシック" pitchFamily="34" charset="-128"/>
              </a:rPr>
              <a:t> </a:t>
            </a:r>
            <a:r>
              <a:rPr lang="fr-FR" sz="1000" b="1" dirty="0" smtClean="0">
                <a:solidFill>
                  <a:srgbClr val="000000"/>
                </a:solidFill>
                <a:ea typeface="ＭＳ Ｐゴシック" pitchFamily="34" charset="-128"/>
              </a:rPr>
              <a:t>développement</a:t>
            </a:r>
          </a:p>
          <a:p>
            <a:pPr marL="1200150" lvl="2" indent="-285750" algn="l" eaLnBrk="0" hangingPunct="0">
              <a:lnSpc>
                <a:spcPct val="150000"/>
              </a:lnSpc>
              <a:buClr>
                <a:srgbClr val="666666"/>
              </a:buClr>
              <a:buFont typeface="Wingdings" pitchFamily="2" charset="2"/>
              <a:buChar char="§"/>
            </a:pPr>
            <a:r>
              <a:rPr lang="fr-FR" sz="1000" dirty="0" smtClean="0">
                <a:solidFill>
                  <a:srgbClr val="000000"/>
                </a:solidFill>
                <a:ea typeface="ＭＳ Ｐゴシック" pitchFamily="34" charset="-128"/>
              </a:rPr>
              <a:t>Saisie des principaux formulaires et création des tables nécessaires à la saisie</a:t>
            </a:r>
            <a:endParaRPr lang="fr-FR" sz="1200" b="1" dirty="0">
              <a:solidFill>
                <a:srgbClr val="000000"/>
              </a:solidFill>
              <a:ea typeface="ＭＳ Ｐゴシック" pitchFamily="34" charset="-128"/>
            </a:endParaRPr>
          </a:p>
          <a:p>
            <a:pPr marL="742950" lvl="1" indent="-285750" algn="l" eaLnBrk="0" hangingPunct="0">
              <a:lnSpc>
                <a:spcPct val="130000"/>
              </a:lnSpc>
              <a:buClr>
                <a:srgbClr val="666666"/>
              </a:buClr>
              <a:buFont typeface="Wingdings" pitchFamily="2" charset="2"/>
              <a:buChar char="§"/>
            </a:pPr>
            <a:endParaRPr lang="fr-FR" sz="10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8" name="Espace réservé de la date 6"/>
          <p:cNvSpPr txBox="1">
            <a:spLocks/>
          </p:cNvSpPr>
          <p:nvPr/>
        </p:nvSpPr>
        <p:spPr bwMode="gray">
          <a:xfrm>
            <a:off x="6516216" y="6416675"/>
            <a:ext cx="1814512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r">
              <a:defRPr/>
            </a:pPr>
            <a:r>
              <a:rPr lang="fr-FR" sz="800" dirty="0" smtClean="0"/>
              <a:t>22/04/2015</a:t>
            </a:r>
            <a:endParaRPr kumimoji="0" lang="fr-FR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-128"/>
              <a:cs typeface="+mn-cs"/>
            </a:endParaRPr>
          </a:p>
        </p:txBody>
      </p:sp>
      <p:sp>
        <p:nvSpPr>
          <p:cNvPr id="9" name="Espace réservé du pied de page 3"/>
          <p:cNvSpPr txBox="1">
            <a:spLocks noGrp="1"/>
          </p:cNvSpPr>
          <p:nvPr/>
        </p:nvSpPr>
        <p:spPr bwMode="gray">
          <a:xfrm>
            <a:off x="2771775" y="6416675"/>
            <a:ext cx="3597275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r>
              <a:rPr lang="fr-FR" sz="800" dirty="0"/>
              <a:t>C2  |  </a:t>
            </a:r>
            <a:r>
              <a:rPr lang="fr-FR" sz="800" dirty="0" smtClean="0"/>
              <a:t>EVOLUTION DES KITS PROJETS</a:t>
            </a:r>
            <a:endParaRPr lang="fr-FR" sz="8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40" name="Rectangle 2"/>
          <p:cNvSpPr>
            <a:spLocks noGrp="1" noChangeArrowheads="1"/>
          </p:cNvSpPr>
          <p:nvPr>
            <p:ph type="title"/>
          </p:nvPr>
        </p:nvSpPr>
        <p:spPr>
          <a:xfrm>
            <a:off x="323850" y="260350"/>
            <a:ext cx="8496300" cy="500063"/>
          </a:xfrm>
        </p:spPr>
        <p:txBody>
          <a:bodyPr/>
          <a:lstStyle/>
          <a:p>
            <a:pPr eaLnBrk="1" hangingPunct="1"/>
            <a:r>
              <a:rPr lang="fr-FR" b="0" dirty="0" smtClean="0"/>
              <a:t>PLANNING PREVISIONNEL</a:t>
            </a:r>
            <a:endParaRPr lang="fr-FR" b="0" dirty="0" smtClean="0"/>
          </a:p>
        </p:txBody>
      </p:sp>
      <p:sp>
        <p:nvSpPr>
          <p:cNvPr id="7" name="Espace réservé de la date 6"/>
          <p:cNvSpPr txBox="1">
            <a:spLocks/>
          </p:cNvSpPr>
          <p:nvPr/>
        </p:nvSpPr>
        <p:spPr bwMode="gray">
          <a:xfrm>
            <a:off x="6516216" y="6416675"/>
            <a:ext cx="1814512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r">
              <a:defRPr/>
            </a:pPr>
            <a:r>
              <a:rPr lang="fr-FR" sz="800" dirty="0" smtClean="0"/>
              <a:t>22/04/2015</a:t>
            </a:r>
            <a:endParaRPr lang="fr-FR" sz="800" b="1" dirty="0">
              <a:latin typeface="Arial" charset="0"/>
              <a:ea typeface="ＭＳ Ｐゴシック" charset="-128"/>
            </a:endParaRPr>
          </a:p>
        </p:txBody>
      </p:sp>
      <p:pic>
        <p:nvPicPr>
          <p:cNvPr id="90" name="Image 89" descr="Sans titre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496" y="1137906"/>
            <a:ext cx="9144000" cy="4595350"/>
          </a:xfrm>
          <a:prstGeom prst="rect">
            <a:avLst/>
          </a:prstGeom>
        </p:spPr>
      </p:pic>
      <p:sp>
        <p:nvSpPr>
          <p:cNvPr id="5" name="Espace réservé du numéro de diapositive 4"/>
          <p:cNvSpPr txBox="1">
            <a:spLocks noGrp="1"/>
          </p:cNvSpPr>
          <p:nvPr/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r>
              <a:rPr lang="fr-FR" sz="800" b="1"/>
              <a:t>P.</a:t>
            </a:r>
            <a:fld id="{C5494252-96C3-48D7-A189-D539F995B593}" type="slidenum">
              <a:rPr lang="fr-FR" sz="800" b="1"/>
              <a:pPr algn="r"/>
              <a:t>5</a:t>
            </a:fld>
            <a:endParaRPr lang="fr-FR" sz="800" b="1"/>
          </a:p>
        </p:txBody>
      </p:sp>
      <p:sp>
        <p:nvSpPr>
          <p:cNvPr id="6" name="Espace réservé du pied de page 3"/>
          <p:cNvSpPr txBox="1">
            <a:spLocks noGrp="1"/>
          </p:cNvSpPr>
          <p:nvPr/>
        </p:nvSpPr>
        <p:spPr bwMode="gray">
          <a:xfrm>
            <a:off x="2771775" y="6416675"/>
            <a:ext cx="3597275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r>
              <a:rPr lang="fr-FR" sz="800" dirty="0"/>
              <a:t>C2  |  </a:t>
            </a:r>
            <a:r>
              <a:rPr lang="fr-FR" sz="800" dirty="0" smtClean="0"/>
              <a:t>EVOLUTION DES KITS PROJETS</a:t>
            </a:r>
            <a:endParaRPr lang="fr-FR" sz="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8626" name="Espace réservé du numéro de diapositive 2"/>
          <p:cNvSpPr txBox="1">
            <a:spLocks noGrp="1"/>
          </p:cNvSpPr>
          <p:nvPr/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r>
              <a:rPr lang="fr-FR" sz="800" b="1"/>
              <a:t>P.</a:t>
            </a:r>
            <a:fld id="{E6D26659-B040-412A-B23E-A8FEDBE209B4}" type="slidenum">
              <a:rPr lang="fr-FR" sz="800" b="1"/>
              <a:pPr algn="r"/>
              <a:t>6</a:t>
            </a:fld>
            <a:endParaRPr lang="fr-FR" sz="800" b="1"/>
          </a:p>
        </p:txBody>
      </p:sp>
      <p:sp>
        <p:nvSpPr>
          <p:cNvPr id="538629" name="Title 1"/>
          <p:cNvSpPr>
            <a:spLocks/>
          </p:cNvSpPr>
          <p:nvPr/>
        </p:nvSpPr>
        <p:spPr bwMode="gray">
          <a:xfrm>
            <a:off x="323850" y="188913"/>
            <a:ext cx="8604250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l"/>
            <a:r>
              <a:rPr lang="fr-FR" sz="1600" dirty="0" smtClean="0">
                <a:solidFill>
                  <a:srgbClr val="E60028"/>
                </a:solidFill>
              </a:rPr>
              <a:t>SUIVI DES RISQUES</a:t>
            </a:r>
            <a:endParaRPr lang="fr-FR" sz="1600" dirty="0">
              <a:solidFill>
                <a:srgbClr val="E60028"/>
              </a:solidFill>
            </a:endParaRPr>
          </a:p>
        </p:txBody>
      </p:sp>
      <p:sp>
        <p:nvSpPr>
          <p:cNvPr id="7" name="Content Placeholder 195"/>
          <p:cNvSpPr txBox="1">
            <a:spLocks/>
          </p:cNvSpPr>
          <p:nvPr/>
        </p:nvSpPr>
        <p:spPr bwMode="gray">
          <a:xfrm>
            <a:off x="323850" y="836613"/>
            <a:ext cx="8208963" cy="5364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80975" indent="-180975" algn="l" eaLnBrk="0" hangingPunct="0">
              <a:lnSpc>
                <a:spcPct val="130000"/>
              </a:lnSpc>
              <a:buClr>
                <a:srgbClr val="666666"/>
              </a:buClr>
              <a:buFont typeface="Wingdings" pitchFamily="2" charset="2"/>
              <a:buChar char="§"/>
            </a:pPr>
            <a:r>
              <a:rPr lang="fr-FR" sz="1200" b="1" dirty="0" smtClean="0">
                <a:solidFill>
                  <a:srgbClr val="000000"/>
                </a:solidFill>
                <a:ea typeface="ＭＳ Ｐゴシック" pitchFamily="34" charset="-128"/>
              </a:rPr>
              <a:t>Restent  encore plusieurs points à lever </a:t>
            </a:r>
            <a:endParaRPr lang="fr-FR" sz="1200" b="1" dirty="0">
              <a:solidFill>
                <a:srgbClr val="000000"/>
              </a:solidFill>
              <a:ea typeface="ＭＳ Ｐゴシック" pitchFamily="34" charset="-128"/>
            </a:endParaRPr>
          </a:p>
          <a:p>
            <a:pPr marL="742950" lvl="1" indent="-285750" algn="l" eaLnBrk="0" hangingPunct="0">
              <a:lnSpc>
                <a:spcPct val="130000"/>
              </a:lnSpc>
              <a:buClr>
                <a:srgbClr val="666666"/>
              </a:buClr>
              <a:buFont typeface="Wingdings" pitchFamily="2" charset="2"/>
              <a:buChar char="§"/>
            </a:pPr>
            <a:r>
              <a:rPr lang="fr-FR" sz="1000" b="1" dirty="0" smtClean="0"/>
              <a:t>Environnement de développement</a:t>
            </a:r>
          </a:p>
          <a:p>
            <a:pPr marL="1200150" lvl="2" indent="-285750" algn="l" eaLnBrk="0" hangingPunct="0">
              <a:lnSpc>
                <a:spcPct val="130000"/>
              </a:lnSpc>
              <a:buClr>
                <a:srgbClr val="666666"/>
              </a:buClr>
              <a:buFont typeface="Wingdings" pitchFamily="2" charset="2"/>
              <a:buChar char="§"/>
            </a:pPr>
            <a:r>
              <a:rPr lang="fr-FR" sz="1000" dirty="0" smtClean="0">
                <a:solidFill>
                  <a:srgbClr val="000000"/>
                </a:solidFill>
                <a:ea typeface="ＭＳ Ｐゴシック" pitchFamily="34" charset="-128"/>
              </a:rPr>
              <a:t>Pas de serveur.: </a:t>
            </a:r>
            <a:r>
              <a:rPr lang="fr-FR" sz="1000" dirty="0" smtClean="0"/>
              <a:t>Impossibilité</a:t>
            </a:r>
            <a:r>
              <a:rPr lang="fr-FR" sz="1000" dirty="0" smtClean="0">
                <a:solidFill>
                  <a:srgbClr val="000000"/>
                </a:solidFill>
                <a:ea typeface="ＭＳ Ｐゴシック" pitchFamily="34" charset="-128"/>
              </a:rPr>
              <a:t> </a:t>
            </a:r>
            <a:r>
              <a:rPr lang="fr-FR" sz="1000" dirty="0" smtClean="0">
                <a:solidFill>
                  <a:srgbClr val="000000"/>
                </a:solidFill>
                <a:ea typeface="ＭＳ Ｐゴシック" pitchFamily="34" charset="-128"/>
              </a:rPr>
              <a:t>à développer sur les machines de la société, sans mon PC le projet ne pourrait pas avancer.</a:t>
            </a:r>
          </a:p>
          <a:p>
            <a:pPr marL="742950" lvl="1" indent="-285750" algn="l" eaLnBrk="0" hangingPunct="0">
              <a:lnSpc>
                <a:spcPct val="130000"/>
              </a:lnSpc>
              <a:buClr>
                <a:srgbClr val="666666"/>
              </a:buClr>
              <a:buFont typeface="Wingdings" pitchFamily="2" charset="2"/>
              <a:buChar char="§"/>
            </a:pPr>
            <a:endParaRPr lang="fr-FR" sz="1000" dirty="0" smtClean="0"/>
          </a:p>
          <a:p>
            <a:pPr marL="742950" lvl="1" indent="-285750" algn="l" eaLnBrk="0" hangingPunct="0">
              <a:lnSpc>
                <a:spcPct val="130000"/>
              </a:lnSpc>
              <a:buClr>
                <a:srgbClr val="666666"/>
              </a:buClr>
              <a:buFont typeface="Wingdings" pitchFamily="2" charset="2"/>
              <a:buChar char="§"/>
            </a:pPr>
            <a:r>
              <a:rPr lang="fr-FR" sz="1000" b="1" dirty="0" smtClean="0"/>
              <a:t>Précisions sur l’objectif du stage</a:t>
            </a:r>
          </a:p>
          <a:p>
            <a:pPr marL="1200150" lvl="2" indent="-285750" algn="l" eaLnBrk="0" hangingPunct="0">
              <a:lnSpc>
                <a:spcPct val="130000"/>
              </a:lnSpc>
              <a:buClr>
                <a:srgbClr val="666666"/>
              </a:buClr>
              <a:buFont typeface="Wingdings" pitchFamily="2" charset="2"/>
              <a:buChar char="§"/>
            </a:pPr>
            <a:r>
              <a:rPr lang="fr-FR" sz="1000" dirty="0" smtClean="0"/>
              <a:t>maquette (POC) ou solution opérationnelle ?</a:t>
            </a:r>
          </a:p>
          <a:p>
            <a:pPr marL="1657350" lvl="3" indent="-285750" algn="l" eaLnBrk="0" hangingPunct="0">
              <a:lnSpc>
                <a:spcPct val="130000"/>
              </a:lnSpc>
              <a:buClr>
                <a:srgbClr val="666666"/>
              </a:buClr>
              <a:buFont typeface="Wingdings" pitchFamily="2" charset="2"/>
              <a:buChar char="§"/>
            </a:pPr>
            <a:r>
              <a:rPr lang="fr-FR" sz="1000" dirty="0" smtClean="0"/>
              <a:t>Est-ce que la techno PHP est le bon choix</a:t>
            </a:r>
          </a:p>
          <a:p>
            <a:pPr marL="742950" lvl="1" indent="-285750" algn="l" eaLnBrk="0" hangingPunct="0">
              <a:lnSpc>
                <a:spcPct val="130000"/>
              </a:lnSpc>
              <a:buClr>
                <a:srgbClr val="666666"/>
              </a:buClr>
              <a:buFont typeface="Wingdings" pitchFamily="2" charset="2"/>
              <a:buChar char="§"/>
            </a:pPr>
            <a:endParaRPr lang="fr-FR" sz="1000" b="1" dirty="0" smtClean="0"/>
          </a:p>
          <a:p>
            <a:pPr marL="1200150" lvl="2" indent="-285750" algn="l" eaLnBrk="0" hangingPunct="0">
              <a:lnSpc>
                <a:spcPct val="130000"/>
              </a:lnSpc>
              <a:buClr>
                <a:srgbClr val="666666"/>
              </a:buClr>
              <a:buFont typeface="Wingdings" pitchFamily="2" charset="2"/>
              <a:buChar char="§"/>
            </a:pPr>
            <a:r>
              <a:rPr lang="fr-FR" sz="1000" dirty="0" smtClean="0"/>
              <a:t>S’il faut une solution opérationnelle en fin de stage</a:t>
            </a:r>
          </a:p>
          <a:p>
            <a:pPr marL="1657350" lvl="3" indent="-285750" algn="l" eaLnBrk="0" hangingPunct="0">
              <a:lnSpc>
                <a:spcPct val="130000"/>
              </a:lnSpc>
              <a:buClr>
                <a:srgbClr val="666666"/>
              </a:buClr>
              <a:buFont typeface="Wingdings" pitchFamily="2" charset="2"/>
              <a:buChar char="§"/>
            </a:pPr>
            <a:r>
              <a:rPr lang="fr-FR" sz="1000" dirty="0" smtClean="0"/>
              <a:t>Comment l’</a:t>
            </a:r>
            <a:r>
              <a:rPr lang="fr-FR" sz="1000" dirty="0" err="1" smtClean="0"/>
              <a:t>intègrer</a:t>
            </a:r>
            <a:r>
              <a:rPr lang="fr-FR" sz="1000" dirty="0" smtClean="0"/>
              <a:t> dans les outils existants (fonctionnant sur </a:t>
            </a:r>
            <a:r>
              <a:rPr lang="fr-FR" sz="1000" dirty="0" err="1" smtClean="0"/>
              <a:t>sharepoint</a:t>
            </a:r>
            <a:r>
              <a:rPr lang="fr-FR" sz="1000" dirty="0" smtClean="0"/>
              <a:t>)</a:t>
            </a:r>
            <a:endParaRPr lang="fr-FR" sz="1000" dirty="0" smtClean="0"/>
          </a:p>
          <a:p>
            <a:pPr marL="1657350" lvl="3" indent="-285750" algn="l" eaLnBrk="0" hangingPunct="0">
              <a:lnSpc>
                <a:spcPct val="130000"/>
              </a:lnSpc>
              <a:buClr>
                <a:srgbClr val="666666"/>
              </a:buClr>
              <a:buFont typeface="Wingdings" pitchFamily="2" charset="2"/>
              <a:buChar char="§"/>
            </a:pPr>
            <a:r>
              <a:rPr lang="fr-FR" sz="1000" dirty="0" smtClean="0"/>
              <a:t>Est-ce </a:t>
            </a:r>
            <a:r>
              <a:rPr lang="fr-FR" sz="1000" dirty="0" smtClean="0"/>
              <a:t>que l’exploitation de l’outil a vocation à rester chez </a:t>
            </a:r>
            <a:r>
              <a:rPr lang="fr-FR" sz="1000" dirty="0" smtClean="0"/>
              <a:t>RET/API</a:t>
            </a:r>
            <a:endParaRPr lang="fr-FR" sz="1000" dirty="0" smtClean="0"/>
          </a:p>
          <a:p>
            <a:pPr marL="1657350" lvl="3" indent="-285750" algn="l" eaLnBrk="0" hangingPunct="0">
              <a:lnSpc>
                <a:spcPct val="130000"/>
              </a:lnSpc>
              <a:buClr>
                <a:srgbClr val="666666"/>
              </a:buClr>
              <a:buFont typeface="Wingdings" pitchFamily="2" charset="2"/>
              <a:buChar char="§"/>
            </a:pPr>
            <a:r>
              <a:rPr lang="fr-FR" sz="1000" dirty="0" smtClean="0"/>
              <a:t>Complexité du SSO à </a:t>
            </a:r>
            <a:r>
              <a:rPr lang="fr-FR" sz="1000" dirty="0" err="1" smtClean="0"/>
              <a:t>gèrer</a:t>
            </a:r>
            <a:endParaRPr lang="fr-FR" sz="1000" dirty="0" smtClean="0"/>
          </a:p>
          <a:p>
            <a:pPr marL="1657350" lvl="3" indent="-285750" algn="l" eaLnBrk="0" hangingPunct="0">
              <a:lnSpc>
                <a:spcPct val="130000"/>
              </a:lnSpc>
              <a:buClr>
                <a:srgbClr val="666666"/>
              </a:buClr>
              <a:buFont typeface="Wingdings" pitchFamily="2" charset="2"/>
              <a:buChar char="§"/>
            </a:pPr>
            <a:r>
              <a:rPr lang="fr-FR" sz="1000" dirty="0" smtClean="0"/>
              <a:t>L’objectif </a:t>
            </a:r>
            <a:r>
              <a:rPr lang="fr-FR" sz="1000" dirty="0" smtClean="0"/>
              <a:t>est il réalisable sur la durée du stage ?</a:t>
            </a:r>
          </a:p>
          <a:p>
            <a:pPr marL="742950" lvl="1" indent="-285750" algn="l" eaLnBrk="0" hangingPunct="0">
              <a:lnSpc>
                <a:spcPct val="130000"/>
              </a:lnSpc>
              <a:buClr>
                <a:srgbClr val="666666"/>
              </a:buClr>
              <a:buFont typeface="Wingdings" pitchFamily="2" charset="2"/>
              <a:buChar char="§"/>
            </a:pPr>
            <a:endParaRPr lang="fr-FR" sz="1000" dirty="0" smtClean="0">
              <a:solidFill>
                <a:srgbClr val="000000"/>
              </a:solidFill>
              <a:ea typeface="ＭＳ Ｐゴシック" pitchFamily="34" charset="-128"/>
            </a:endParaRPr>
          </a:p>
          <a:p>
            <a:pPr marL="742950" lvl="1" indent="-285750" algn="l" eaLnBrk="0" hangingPunct="0">
              <a:lnSpc>
                <a:spcPct val="130000"/>
              </a:lnSpc>
              <a:buClr>
                <a:srgbClr val="666666"/>
              </a:buClr>
              <a:buFont typeface="Wingdings" pitchFamily="2" charset="2"/>
              <a:buChar char="§"/>
            </a:pPr>
            <a:endParaRPr lang="fr-FR" sz="10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8" name="Espace réservé de la date 6"/>
          <p:cNvSpPr txBox="1">
            <a:spLocks/>
          </p:cNvSpPr>
          <p:nvPr/>
        </p:nvSpPr>
        <p:spPr bwMode="gray">
          <a:xfrm>
            <a:off x="6516216" y="6416675"/>
            <a:ext cx="1814512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r">
              <a:defRPr/>
            </a:pPr>
            <a:r>
              <a:rPr lang="fr-FR" sz="800" dirty="0" smtClean="0"/>
              <a:t>22/04/2015</a:t>
            </a:r>
            <a:endParaRPr kumimoji="0" lang="fr-FR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-128"/>
              <a:cs typeface="+mn-cs"/>
            </a:endParaRPr>
          </a:p>
        </p:txBody>
      </p:sp>
      <p:sp>
        <p:nvSpPr>
          <p:cNvPr id="9" name="Espace réservé du pied de page 3"/>
          <p:cNvSpPr txBox="1">
            <a:spLocks noGrp="1"/>
          </p:cNvSpPr>
          <p:nvPr/>
        </p:nvSpPr>
        <p:spPr bwMode="gray">
          <a:xfrm>
            <a:off x="2771775" y="6416675"/>
            <a:ext cx="3597275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r>
              <a:rPr lang="fr-FR" sz="800" dirty="0"/>
              <a:t>C2  |  </a:t>
            </a:r>
            <a:r>
              <a:rPr lang="fr-FR" sz="800" dirty="0" smtClean="0"/>
              <a:t>EVOLUTION DES KITS PROJETS</a:t>
            </a:r>
            <a:endParaRPr lang="fr-FR" sz="8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0498" name="Espace réservé du numéro de diapositive 4"/>
          <p:cNvSpPr txBox="1">
            <a:spLocks noGrp="1"/>
          </p:cNvSpPr>
          <p:nvPr/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r>
              <a:rPr lang="fr-FR" sz="800" b="1"/>
              <a:t>P.</a:t>
            </a:r>
            <a:fld id="{7C46C26F-899B-4762-A8FA-5E7C5D399251}" type="slidenum">
              <a:rPr lang="fr-FR" sz="800" b="1"/>
              <a:pPr algn="r"/>
              <a:t>7</a:t>
            </a:fld>
            <a:endParaRPr lang="fr-FR" sz="800" b="1"/>
          </a:p>
        </p:txBody>
      </p:sp>
      <p:sp>
        <p:nvSpPr>
          <p:cNvPr id="490500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539750" y="2997200"/>
            <a:ext cx="8029575" cy="1136650"/>
          </a:xfrm>
        </p:spPr>
        <p:txBody>
          <a:bodyPr/>
          <a:lstStyle/>
          <a:p>
            <a:pPr algn="ctr" eaLnBrk="1" hangingPunct="1">
              <a:lnSpc>
                <a:spcPct val="90000"/>
              </a:lnSpc>
              <a:spcBef>
                <a:spcPct val="0"/>
              </a:spcBef>
              <a:buFont typeface="Wingdings" pitchFamily="2" charset="2"/>
              <a:buNone/>
            </a:pPr>
            <a:r>
              <a:rPr lang="fr-FR" sz="2100" b="0" dirty="0" smtClean="0">
                <a:solidFill>
                  <a:srgbClr val="E60028"/>
                </a:solidFill>
              </a:rPr>
              <a:t>ANNEXES</a:t>
            </a:r>
          </a:p>
        </p:txBody>
      </p:sp>
      <p:sp>
        <p:nvSpPr>
          <p:cNvPr id="7" name="Espace réservé de la date 6"/>
          <p:cNvSpPr txBox="1">
            <a:spLocks/>
          </p:cNvSpPr>
          <p:nvPr/>
        </p:nvSpPr>
        <p:spPr bwMode="gray">
          <a:xfrm>
            <a:off x="6516216" y="6416675"/>
            <a:ext cx="1814512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r">
              <a:defRPr/>
            </a:pPr>
            <a:r>
              <a:rPr lang="fr-FR" sz="800" dirty="0" smtClean="0"/>
              <a:t>22/04/2015</a:t>
            </a:r>
            <a:endParaRPr kumimoji="0" lang="fr-FR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-128"/>
              <a:cs typeface="+mn-cs"/>
            </a:endParaRPr>
          </a:p>
        </p:txBody>
      </p:sp>
      <p:sp>
        <p:nvSpPr>
          <p:cNvPr id="8" name="Espace réservé du pied de page 3"/>
          <p:cNvSpPr txBox="1">
            <a:spLocks noGrp="1"/>
          </p:cNvSpPr>
          <p:nvPr/>
        </p:nvSpPr>
        <p:spPr bwMode="gray">
          <a:xfrm>
            <a:off x="2771775" y="6416675"/>
            <a:ext cx="3597275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r>
              <a:rPr lang="fr-FR" sz="800" dirty="0"/>
              <a:t>C2  |  </a:t>
            </a:r>
            <a:r>
              <a:rPr lang="fr-FR" sz="800" dirty="0" smtClean="0"/>
              <a:t>EVOLUTION DES KITS PROJETS</a:t>
            </a:r>
            <a:endParaRPr lang="fr-FR" sz="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3154" name="Espace réservé du numéro de diapositive 4"/>
          <p:cNvSpPr txBox="1">
            <a:spLocks noGrp="1"/>
          </p:cNvSpPr>
          <p:nvPr/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r>
              <a:rPr lang="fr-FR" sz="800" b="1"/>
              <a:t>P.</a:t>
            </a:r>
            <a:fld id="{6A267090-7C3E-4397-9BEC-F1C17A58F594}" type="slidenum">
              <a:rPr lang="fr-FR" sz="800" b="1"/>
              <a:pPr algn="r"/>
              <a:t>8</a:t>
            </a:fld>
            <a:endParaRPr lang="fr-FR" sz="800" b="1"/>
          </a:p>
        </p:txBody>
      </p:sp>
      <p:sp>
        <p:nvSpPr>
          <p:cNvPr id="433155" name="Rectangle 3"/>
          <p:cNvSpPr>
            <a:spLocks noGrp="1" noChangeArrowheads="1"/>
          </p:cNvSpPr>
          <p:nvPr>
            <p:ph type="title" idx="4294967295"/>
          </p:nvPr>
        </p:nvSpPr>
        <p:spPr>
          <a:xfrm>
            <a:off x="323850" y="260350"/>
            <a:ext cx="8496300" cy="500063"/>
          </a:xfrm>
        </p:spPr>
        <p:txBody>
          <a:bodyPr/>
          <a:lstStyle/>
          <a:p>
            <a:pPr eaLnBrk="1" hangingPunct="1"/>
            <a:r>
              <a:rPr lang="fr-FR" b="0" dirty="0" smtClean="0"/>
              <a:t>RACI du projet</a:t>
            </a:r>
          </a:p>
        </p:txBody>
      </p:sp>
      <p:sp>
        <p:nvSpPr>
          <p:cNvPr id="3" name="Right Arrow 42"/>
          <p:cNvSpPr/>
          <p:nvPr>
            <p:custDataLst>
              <p:tags r:id="rId1"/>
            </p:custDataLst>
          </p:nvPr>
        </p:nvSpPr>
        <p:spPr>
          <a:xfrm>
            <a:off x="-323850" y="2060575"/>
            <a:ext cx="179387" cy="107950"/>
          </a:xfrm>
          <a:prstGeom prst="right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n-US"/>
          </a:p>
        </p:txBody>
      </p:sp>
      <p:pic>
        <p:nvPicPr>
          <p:cNvPr id="433157" name="Picture 137" descr="D:\Documents and Settings\clement.flegeau\Desktop\Icones\meteo\1245411137_weather_16.pn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-468313" y="1412875"/>
            <a:ext cx="287338" cy="287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9" name="Right Arrow 29"/>
          <p:cNvSpPr/>
          <p:nvPr>
            <p:custDataLst>
              <p:tags r:id="rId3"/>
            </p:custDataLst>
          </p:nvPr>
        </p:nvSpPr>
        <p:spPr>
          <a:xfrm rot="19816373">
            <a:off x="-396875" y="1773238"/>
            <a:ext cx="158750" cy="95250"/>
          </a:xfrm>
          <a:prstGeom prst="rightArrow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n-US"/>
          </a:p>
        </p:txBody>
      </p:sp>
      <p:pic>
        <p:nvPicPr>
          <p:cNvPr id="433159" name="Picture 138" descr="D:\Documents and Settings\clement.flegeau\Desktop\Icones\meteo\1245411216_weather_14.png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-468313" y="836613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Espace réservé de la date 6"/>
          <p:cNvSpPr txBox="1">
            <a:spLocks/>
          </p:cNvSpPr>
          <p:nvPr/>
        </p:nvSpPr>
        <p:spPr bwMode="gray">
          <a:xfrm>
            <a:off x="6516216" y="6416675"/>
            <a:ext cx="1814512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r">
              <a:defRPr/>
            </a:pPr>
            <a:r>
              <a:rPr lang="fr-FR" sz="800" dirty="0" smtClean="0"/>
              <a:t>22/04/2015</a:t>
            </a:r>
            <a:endParaRPr kumimoji="0" lang="fr-FR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-128"/>
              <a:cs typeface="+mn-cs"/>
            </a:endParaRPr>
          </a:p>
        </p:txBody>
      </p:sp>
      <p:sp>
        <p:nvSpPr>
          <p:cNvPr id="16385" name="Rectangle 1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23528" y="4437112"/>
            <a:ext cx="8424936" cy="144655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l"/>
            <a:r>
              <a:rPr lang="fr-FR" sz="1100" u="sng" dirty="0" smtClean="0"/>
              <a:t>R : </a:t>
            </a:r>
            <a:r>
              <a:rPr lang="fr-FR" sz="1100" u="sng" dirty="0" err="1" smtClean="0"/>
              <a:t>Responsible</a:t>
            </a:r>
            <a:r>
              <a:rPr lang="fr-FR" sz="1100" u="sng" dirty="0" smtClean="0"/>
              <a:t> </a:t>
            </a:r>
            <a:r>
              <a:rPr lang="fr-FR" sz="1100" dirty="0" smtClean="0"/>
              <a:t>– Ils </a:t>
            </a:r>
            <a:r>
              <a:rPr lang="fr-FR" sz="1100" b="1" dirty="0" smtClean="0"/>
              <a:t>réalisent l'action</a:t>
            </a:r>
            <a:r>
              <a:rPr lang="fr-FR" sz="1100" dirty="0" smtClean="0"/>
              <a:t>. Il y a au moins un R pour chaque action. Le A est responsable de l’organisation du travail du ou des R. Si les R ne remplissent pas leurs objectifs, le </a:t>
            </a:r>
            <a:r>
              <a:rPr lang="fr-FR" sz="1100" b="1" dirty="0" smtClean="0"/>
              <a:t>A reste responsable</a:t>
            </a:r>
            <a:r>
              <a:rPr lang="fr-FR" sz="1100" dirty="0" smtClean="0"/>
              <a:t> de la situation.</a:t>
            </a:r>
          </a:p>
          <a:p>
            <a:pPr algn="l"/>
            <a:r>
              <a:rPr lang="fr-FR" sz="1100" u="sng" dirty="0" smtClean="0"/>
              <a:t>A : </a:t>
            </a:r>
            <a:r>
              <a:rPr lang="fr-FR" sz="1100" u="sng" dirty="0" err="1" smtClean="0"/>
              <a:t>Accountable</a:t>
            </a:r>
            <a:r>
              <a:rPr lang="fr-FR" sz="1100" u="sng" dirty="0" smtClean="0"/>
              <a:t> </a:t>
            </a:r>
            <a:r>
              <a:rPr lang="fr-FR" sz="1100" dirty="0" smtClean="0"/>
              <a:t>– Ils </a:t>
            </a:r>
            <a:r>
              <a:rPr lang="fr-FR" sz="1100" b="1" dirty="0" smtClean="0"/>
              <a:t>rendent des comptes sur l'avancement de l'action</a:t>
            </a:r>
            <a:r>
              <a:rPr lang="fr-FR" sz="1100" dirty="0" smtClean="0"/>
              <a:t>. Il y a </a:t>
            </a:r>
            <a:r>
              <a:rPr lang="fr-FR" sz="1100" b="1" dirty="0" smtClean="0"/>
              <a:t>toujours un et un seul A</a:t>
            </a:r>
            <a:r>
              <a:rPr lang="fr-FR" sz="1100" dirty="0" smtClean="0"/>
              <a:t> pour chaque action. « Avoir le A » signifie être totalement responsable d'une action</a:t>
            </a:r>
          </a:p>
          <a:p>
            <a:pPr algn="l"/>
            <a:r>
              <a:rPr lang="fr-FR" sz="1100" u="sng" dirty="0" smtClean="0"/>
              <a:t>C : </a:t>
            </a:r>
            <a:r>
              <a:rPr lang="fr-FR" sz="1100" u="sng" dirty="0" err="1" smtClean="0"/>
              <a:t>Consulted</a:t>
            </a:r>
            <a:r>
              <a:rPr lang="fr-FR" sz="1100" u="sng" dirty="0" smtClean="0"/>
              <a:t> </a:t>
            </a:r>
            <a:r>
              <a:rPr lang="fr-FR" sz="1100" dirty="0" smtClean="0"/>
              <a:t>- participants qui doivent être </a:t>
            </a:r>
            <a:r>
              <a:rPr lang="fr-FR" sz="1100" b="1" dirty="0" smtClean="0"/>
              <a:t>consultés</a:t>
            </a:r>
            <a:r>
              <a:rPr lang="fr-FR" sz="1100" dirty="0" smtClean="0"/>
              <a:t>. Sur consultation du A et des R, ils </a:t>
            </a:r>
            <a:r>
              <a:rPr lang="fr-FR" sz="1100" b="1" dirty="0" smtClean="0"/>
              <a:t>donnent leur avis sur les sujets où ils sont experts</a:t>
            </a:r>
            <a:r>
              <a:rPr lang="fr-FR" sz="1100" dirty="0" smtClean="0"/>
              <a:t>. Les C </a:t>
            </a:r>
            <a:r>
              <a:rPr lang="fr-FR" sz="1100" b="1" dirty="0" smtClean="0"/>
              <a:t>n'ont pas autorité</a:t>
            </a:r>
            <a:r>
              <a:rPr lang="fr-FR" sz="1100" dirty="0" smtClean="0"/>
              <a:t>. C'est le </a:t>
            </a:r>
            <a:r>
              <a:rPr lang="fr-FR" sz="1100" b="1" dirty="0" smtClean="0"/>
              <a:t>A qui décide de prendre en compte ou non l'avis</a:t>
            </a:r>
            <a:r>
              <a:rPr lang="fr-FR" sz="1100" dirty="0" smtClean="0"/>
              <a:t> des C.</a:t>
            </a:r>
          </a:p>
          <a:p>
            <a:pPr algn="l"/>
            <a:r>
              <a:rPr lang="fr-FR" sz="1100" u="sng" dirty="0" smtClean="0"/>
              <a:t>I : </a:t>
            </a:r>
            <a:r>
              <a:rPr lang="fr-FR" sz="1100" u="sng" dirty="0" err="1" smtClean="0"/>
              <a:t>Informed</a:t>
            </a:r>
            <a:r>
              <a:rPr lang="fr-FR" sz="1100" u="sng" dirty="0" smtClean="0"/>
              <a:t> </a:t>
            </a:r>
            <a:r>
              <a:rPr lang="fr-FR" sz="1100" dirty="0" smtClean="0"/>
              <a:t>- personnes qui </a:t>
            </a:r>
            <a:r>
              <a:rPr lang="fr-FR" sz="1100" b="1" dirty="0" smtClean="0"/>
              <a:t>doivent être informés</a:t>
            </a:r>
            <a:r>
              <a:rPr lang="fr-FR" sz="1100" dirty="0" smtClean="0"/>
              <a:t>. Elles sont classiquement indirectement </a:t>
            </a:r>
            <a:r>
              <a:rPr lang="fr-FR" sz="1100" b="1" dirty="0" smtClean="0"/>
              <a:t>impactées par le projet</a:t>
            </a:r>
            <a:r>
              <a:rPr lang="fr-FR" sz="1100" dirty="0" smtClean="0"/>
              <a:t>, comme les utilisateurs, les responsables de projets périphériques...</a:t>
            </a:r>
            <a:endParaRPr lang="fr-FR" sz="1100" dirty="0"/>
          </a:p>
        </p:txBody>
      </p:sp>
      <p:graphicFrame>
        <p:nvGraphicFramePr>
          <p:cNvPr id="14" name="Tableau 13"/>
          <p:cNvGraphicFramePr>
            <a:graphicFrameLocks noGrp="1"/>
          </p:cNvGraphicFramePr>
          <p:nvPr/>
        </p:nvGraphicFramePr>
        <p:xfrm>
          <a:off x="2051720" y="980728"/>
          <a:ext cx="4896544" cy="3288538"/>
        </p:xfrm>
        <a:graphic>
          <a:graphicData uri="http://schemas.openxmlformats.org/drawingml/2006/table">
            <a:tbl>
              <a:tblPr/>
              <a:tblGrid>
                <a:gridCol w="2022987"/>
                <a:gridCol w="569301"/>
                <a:gridCol w="936104"/>
                <a:gridCol w="720080"/>
                <a:gridCol w="648072"/>
              </a:tblGrid>
              <a:tr h="91186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FR" sz="11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1755" marR="7175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50" b="1" dirty="0">
                          <a:solidFill>
                            <a:schemeClr val="bg1"/>
                          </a:solidFill>
                          <a:latin typeface="+mj-lt"/>
                          <a:ea typeface="Calibri"/>
                          <a:cs typeface="Times New Roman"/>
                        </a:rPr>
                        <a:t>Julien </a:t>
                      </a:r>
                      <a:r>
                        <a:rPr lang="fr-FR" sz="1050" b="1" dirty="0" err="1">
                          <a:solidFill>
                            <a:schemeClr val="bg1"/>
                          </a:solidFill>
                          <a:latin typeface="+mj-lt"/>
                          <a:ea typeface="Calibri"/>
                          <a:cs typeface="Times New Roman"/>
                        </a:rPr>
                        <a:t>Leleu</a:t>
                      </a:r>
                      <a:endParaRPr lang="fr-FR" sz="1000" b="1" dirty="0">
                        <a:solidFill>
                          <a:schemeClr val="bg1"/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vert="vert27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50" b="1" dirty="0">
                          <a:latin typeface="+mj-lt"/>
                          <a:ea typeface="Calibri"/>
                          <a:cs typeface="Times New Roman"/>
                        </a:rPr>
                        <a:t>Jérôme </a:t>
                      </a:r>
                      <a:r>
                        <a:rPr lang="fr-FR" sz="1050" b="1" dirty="0" err="1">
                          <a:latin typeface="+mj-lt"/>
                          <a:ea typeface="Calibri"/>
                          <a:cs typeface="Times New Roman"/>
                        </a:rPr>
                        <a:t>Delecour</a:t>
                      </a:r>
                      <a:endParaRPr lang="fr-FR" sz="1000" b="1" dirty="0">
                        <a:latin typeface="+mj-lt"/>
                        <a:ea typeface="Calibri"/>
                        <a:cs typeface="Times New Roman"/>
                      </a:endParaRPr>
                    </a:p>
                    <a:p>
                      <a:pPr marL="71755" marR="7175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 dirty="0">
                          <a:latin typeface="+mj-lt"/>
                          <a:ea typeface="Calibri"/>
                          <a:cs typeface="Times New Roman"/>
                        </a:rPr>
                        <a:t>(Maître de stage) </a:t>
                      </a:r>
                      <a:endParaRPr lang="fr-FR" sz="800" b="1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vert="vert27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50" b="1" dirty="0">
                          <a:latin typeface="+mj-lt"/>
                          <a:ea typeface="Calibri"/>
                          <a:cs typeface="Times New Roman"/>
                        </a:rPr>
                        <a:t>Sebastien </a:t>
                      </a:r>
                      <a:r>
                        <a:rPr lang="fr-FR" sz="1050" b="1" dirty="0" err="1" smtClean="0">
                          <a:latin typeface="+mj-lt"/>
                          <a:ea typeface="Calibri"/>
                          <a:cs typeface="Times New Roman"/>
                        </a:rPr>
                        <a:t>Torchy</a:t>
                      </a:r>
                      <a:r>
                        <a:rPr lang="fr-FR" sz="1050" b="1" dirty="0" smtClean="0">
                          <a:latin typeface="+mj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fr-FR" sz="1050" b="1" baseline="0" dirty="0" smtClean="0">
                          <a:latin typeface="+mj-lt"/>
                          <a:ea typeface="Calibri"/>
                          <a:cs typeface="Times New Roman"/>
                        </a:rPr>
                        <a:t> (ME)</a:t>
                      </a:r>
                      <a:endParaRPr lang="fr-FR" sz="1000" b="1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vert="vert27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50" b="1" dirty="0">
                          <a:solidFill>
                            <a:srgbClr val="FFFFFF"/>
                          </a:solidFill>
                          <a:latin typeface="+mj-lt"/>
                          <a:ea typeface="Calibri"/>
                          <a:cs typeface="Times New Roman"/>
                        </a:rPr>
                        <a:t>Christophe MASSE</a:t>
                      </a:r>
                      <a:endParaRPr lang="fr-FR" sz="1000" b="1" dirty="0">
                        <a:latin typeface="+mj-lt"/>
                        <a:ea typeface="Calibri"/>
                        <a:cs typeface="Times New Roman"/>
                      </a:endParaRPr>
                    </a:p>
                    <a:p>
                      <a:pPr marL="71755" marR="7175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50" b="1" dirty="0">
                          <a:solidFill>
                            <a:srgbClr val="FFFFFF"/>
                          </a:solidFill>
                          <a:latin typeface="+mj-lt"/>
                          <a:ea typeface="Calibri"/>
                          <a:cs typeface="Times New Roman"/>
                        </a:rPr>
                        <a:t>(Sponsor)</a:t>
                      </a:r>
                      <a:endParaRPr lang="fr-FR" sz="1000" b="1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vert="vert27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21526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dirty="0">
                          <a:solidFill>
                            <a:srgbClr val="0070C0"/>
                          </a:solidFill>
                          <a:latin typeface="+mj-lt"/>
                          <a:ea typeface="Calibri"/>
                          <a:cs typeface="Times New Roman"/>
                        </a:rPr>
                        <a:t>Recenser les besoins</a:t>
                      </a:r>
                      <a:endParaRPr lang="fr-FR" sz="1100" dirty="0">
                        <a:solidFill>
                          <a:srgbClr val="0070C0"/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>
                          <a:latin typeface="+mj-lt"/>
                          <a:ea typeface="Calibri"/>
                          <a:cs typeface="Times New Roman"/>
                        </a:rPr>
                        <a:t>I</a:t>
                      </a:r>
                      <a:endParaRPr lang="fr-FR" sz="11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 smtClean="0">
                          <a:latin typeface="+mj-lt"/>
                          <a:ea typeface="Calibri"/>
                          <a:cs typeface="Times New Roman"/>
                        </a:rPr>
                        <a:t>A</a:t>
                      </a:r>
                      <a:endParaRPr lang="fr-FR" sz="11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 smtClean="0">
                          <a:latin typeface="+mj-lt"/>
                          <a:ea typeface="Calibri"/>
                          <a:cs typeface="Times New Roman"/>
                        </a:rPr>
                        <a:t>A</a:t>
                      </a:r>
                      <a:endParaRPr lang="fr-FR" sz="11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>
                          <a:latin typeface="+mj-lt"/>
                          <a:ea typeface="Calibri"/>
                          <a:cs typeface="Times New Roman"/>
                        </a:rPr>
                        <a:t>C</a:t>
                      </a:r>
                      <a:endParaRPr lang="fr-FR" sz="11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526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dirty="0">
                          <a:solidFill>
                            <a:srgbClr val="0070C0"/>
                          </a:solidFill>
                          <a:latin typeface="+mj-lt"/>
                          <a:ea typeface="Calibri"/>
                          <a:cs typeface="Times New Roman"/>
                        </a:rPr>
                        <a:t>Planning projet</a:t>
                      </a:r>
                      <a:endParaRPr lang="fr-FR" sz="1100" dirty="0">
                        <a:solidFill>
                          <a:srgbClr val="0070C0"/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>
                          <a:latin typeface="+mj-lt"/>
                          <a:ea typeface="Calibri"/>
                          <a:cs typeface="Times New Roman"/>
                        </a:rPr>
                        <a:t>A</a:t>
                      </a:r>
                      <a:endParaRPr lang="fr-FR" sz="11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>
                          <a:latin typeface="+mj-lt"/>
                          <a:ea typeface="Calibri"/>
                          <a:cs typeface="Times New Roman"/>
                        </a:rPr>
                        <a:t>C</a:t>
                      </a:r>
                      <a:endParaRPr lang="fr-FR" sz="11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>
                          <a:latin typeface="+mj-lt"/>
                          <a:ea typeface="Calibri"/>
                          <a:cs typeface="Times New Roman"/>
                        </a:rPr>
                        <a:t>C</a:t>
                      </a:r>
                      <a:endParaRPr lang="fr-FR" sz="110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FR" sz="11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193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dirty="0">
                          <a:solidFill>
                            <a:srgbClr val="0070C0"/>
                          </a:solidFill>
                          <a:latin typeface="+mj-lt"/>
                          <a:ea typeface="Calibri"/>
                          <a:cs typeface="Times New Roman"/>
                        </a:rPr>
                        <a:t>Maquette projet</a:t>
                      </a:r>
                      <a:endParaRPr lang="fr-FR" sz="1100" dirty="0">
                        <a:solidFill>
                          <a:srgbClr val="0070C0"/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 smtClean="0">
                          <a:latin typeface="+mj-lt"/>
                          <a:ea typeface="Calibri"/>
                          <a:cs typeface="Times New Roman"/>
                        </a:rPr>
                        <a:t>A</a:t>
                      </a:r>
                      <a:endParaRPr lang="fr-FR" sz="11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>
                          <a:latin typeface="+mj-lt"/>
                          <a:ea typeface="Calibri"/>
                          <a:cs typeface="Times New Roman"/>
                        </a:rPr>
                        <a:t>C</a:t>
                      </a:r>
                      <a:endParaRPr lang="fr-FR" sz="11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>
                          <a:latin typeface="+mj-lt"/>
                          <a:ea typeface="Calibri"/>
                          <a:cs typeface="Times New Roman"/>
                        </a:rPr>
                        <a:t>C</a:t>
                      </a:r>
                      <a:endParaRPr lang="fr-FR" sz="110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FR" sz="110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193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>
                          <a:solidFill>
                            <a:srgbClr val="0070C0"/>
                          </a:solidFill>
                          <a:latin typeface="+mj-lt"/>
                          <a:ea typeface="Calibri"/>
                          <a:cs typeface="Times New Roman"/>
                        </a:rPr>
                        <a:t>Flows</a:t>
                      </a:r>
                      <a:endParaRPr lang="fr-FR" sz="1100">
                        <a:solidFill>
                          <a:srgbClr val="0070C0"/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 smtClean="0">
                          <a:latin typeface="+mj-lt"/>
                          <a:ea typeface="Calibri"/>
                          <a:cs typeface="Times New Roman"/>
                        </a:rPr>
                        <a:t>A</a:t>
                      </a:r>
                      <a:endParaRPr lang="fr-FR" sz="11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>
                          <a:latin typeface="+mj-lt"/>
                          <a:ea typeface="Calibri"/>
                          <a:cs typeface="Times New Roman"/>
                        </a:rPr>
                        <a:t>C</a:t>
                      </a:r>
                      <a:endParaRPr lang="fr-FR" sz="11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>
                          <a:latin typeface="+mj-lt"/>
                          <a:ea typeface="Calibri"/>
                          <a:cs typeface="Times New Roman"/>
                        </a:rPr>
                        <a:t>C</a:t>
                      </a:r>
                      <a:endParaRPr lang="fr-FR" sz="110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FR" sz="110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526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>
                          <a:solidFill>
                            <a:srgbClr val="0070C0"/>
                          </a:solidFill>
                          <a:latin typeface="+mj-lt"/>
                          <a:ea typeface="Calibri"/>
                          <a:cs typeface="Times New Roman"/>
                        </a:rPr>
                        <a:t>MCD</a:t>
                      </a:r>
                      <a:endParaRPr lang="fr-FR" sz="1100">
                        <a:solidFill>
                          <a:srgbClr val="0070C0"/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 smtClean="0">
                          <a:latin typeface="+mj-lt"/>
                          <a:ea typeface="Calibri"/>
                          <a:cs typeface="Times New Roman"/>
                        </a:rPr>
                        <a:t>A</a:t>
                      </a:r>
                      <a:endParaRPr lang="fr-FR" sz="11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>
                          <a:latin typeface="+mj-lt"/>
                          <a:ea typeface="Calibri"/>
                          <a:cs typeface="Times New Roman"/>
                        </a:rPr>
                        <a:t>C</a:t>
                      </a:r>
                      <a:endParaRPr lang="fr-FR" sz="11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>
                          <a:latin typeface="+mj-lt"/>
                          <a:ea typeface="Calibri"/>
                          <a:cs typeface="Times New Roman"/>
                        </a:rPr>
                        <a:t>C</a:t>
                      </a:r>
                      <a:endParaRPr lang="fr-FR" sz="11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FR" sz="110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116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dirty="0">
                          <a:solidFill>
                            <a:srgbClr val="0070C0"/>
                          </a:solidFill>
                          <a:latin typeface="+mj-lt"/>
                          <a:ea typeface="Calibri"/>
                          <a:cs typeface="Times New Roman"/>
                        </a:rPr>
                        <a:t>Serveur de déploiement apache</a:t>
                      </a:r>
                      <a:endParaRPr lang="fr-FR" sz="1100" dirty="0">
                        <a:solidFill>
                          <a:srgbClr val="0070C0"/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>
                          <a:latin typeface="+mj-lt"/>
                          <a:ea typeface="Calibri"/>
                          <a:cs typeface="Times New Roman"/>
                        </a:rPr>
                        <a:t>I</a:t>
                      </a:r>
                      <a:endParaRPr lang="fr-FR" sz="110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C</a:t>
                      </a:r>
                      <a:endParaRPr lang="fr-FR" sz="1100" kern="120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 smtClean="0">
                          <a:latin typeface="+mj-lt"/>
                          <a:ea typeface="Calibri"/>
                          <a:cs typeface="Times New Roman"/>
                        </a:rPr>
                        <a:t>A</a:t>
                      </a:r>
                      <a:endParaRPr lang="fr-FR" sz="11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C</a:t>
                      </a:r>
                      <a:endParaRPr lang="fr-FR" sz="1050" kern="120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193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dirty="0">
                          <a:solidFill>
                            <a:srgbClr val="0070C0"/>
                          </a:solidFill>
                          <a:latin typeface="+mj-lt"/>
                          <a:ea typeface="Calibri"/>
                          <a:cs typeface="Times New Roman"/>
                        </a:rPr>
                        <a:t>Développement</a:t>
                      </a:r>
                      <a:endParaRPr lang="fr-FR" sz="1100" dirty="0">
                        <a:solidFill>
                          <a:srgbClr val="0070C0"/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>
                          <a:latin typeface="+mj-lt"/>
                          <a:ea typeface="Calibri"/>
                          <a:cs typeface="Times New Roman"/>
                        </a:rPr>
                        <a:t>A</a:t>
                      </a:r>
                      <a:endParaRPr lang="fr-FR" sz="11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>
                          <a:latin typeface="+mj-lt"/>
                          <a:ea typeface="Calibri"/>
                          <a:cs typeface="Times New Roman"/>
                        </a:rPr>
                        <a:t>I</a:t>
                      </a:r>
                      <a:endParaRPr lang="fr-FR" sz="11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 smtClean="0">
                          <a:latin typeface="+mj-lt"/>
                          <a:ea typeface="Calibri"/>
                          <a:cs typeface="Times New Roman"/>
                        </a:rPr>
                        <a:t>C</a:t>
                      </a:r>
                      <a:endParaRPr lang="fr-FR" sz="11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FR" sz="11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193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>
                          <a:solidFill>
                            <a:srgbClr val="0070C0"/>
                          </a:solidFill>
                          <a:latin typeface="+mj-lt"/>
                          <a:ea typeface="Calibri"/>
                          <a:cs typeface="Times New Roman"/>
                        </a:rPr>
                        <a:t>Documentation</a:t>
                      </a:r>
                      <a:endParaRPr lang="fr-FR" sz="1100">
                        <a:solidFill>
                          <a:srgbClr val="0070C0"/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>
                          <a:latin typeface="+mj-lt"/>
                          <a:ea typeface="Calibri"/>
                          <a:cs typeface="Times New Roman"/>
                        </a:rPr>
                        <a:t>A</a:t>
                      </a:r>
                      <a:endParaRPr lang="fr-FR" sz="11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>
                          <a:latin typeface="+mj-lt"/>
                          <a:ea typeface="Calibri"/>
                          <a:cs typeface="Times New Roman"/>
                        </a:rPr>
                        <a:t>I</a:t>
                      </a:r>
                      <a:endParaRPr lang="fr-FR" sz="110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 smtClean="0">
                          <a:latin typeface="+mj-lt"/>
                          <a:ea typeface="Calibri"/>
                          <a:cs typeface="Times New Roman"/>
                        </a:rPr>
                        <a:t>C</a:t>
                      </a:r>
                      <a:endParaRPr lang="fr-FR" sz="11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FR" sz="11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923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>
                          <a:solidFill>
                            <a:srgbClr val="0070C0"/>
                          </a:solidFill>
                          <a:latin typeface="+mj-lt"/>
                          <a:ea typeface="Calibri"/>
                          <a:cs typeface="Times New Roman"/>
                        </a:rPr>
                        <a:t>Tests unitaires</a:t>
                      </a:r>
                      <a:endParaRPr lang="fr-FR" sz="1100">
                        <a:solidFill>
                          <a:srgbClr val="0070C0"/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>
                          <a:latin typeface="+mj-lt"/>
                          <a:ea typeface="Calibri"/>
                          <a:cs typeface="Times New Roman"/>
                        </a:rPr>
                        <a:t>A</a:t>
                      </a:r>
                      <a:endParaRPr lang="fr-FR" sz="11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>
                          <a:latin typeface="+mj-lt"/>
                          <a:ea typeface="Calibri"/>
                          <a:cs typeface="Times New Roman"/>
                        </a:rPr>
                        <a:t>I</a:t>
                      </a:r>
                      <a:endParaRPr lang="fr-FR" sz="110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>
                          <a:latin typeface="+mj-lt"/>
                          <a:ea typeface="Calibri"/>
                          <a:cs typeface="Times New Roman"/>
                        </a:rPr>
                        <a:t>I</a:t>
                      </a:r>
                      <a:endParaRPr lang="fr-FR" sz="11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FR" sz="11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923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dirty="0">
                          <a:solidFill>
                            <a:srgbClr val="0070C0"/>
                          </a:solidFill>
                          <a:latin typeface="+mj-lt"/>
                          <a:ea typeface="Calibri"/>
                          <a:cs typeface="Times New Roman"/>
                        </a:rPr>
                        <a:t>Formation des utilisateurs</a:t>
                      </a:r>
                      <a:endParaRPr lang="fr-FR" sz="1100" dirty="0">
                        <a:solidFill>
                          <a:srgbClr val="0070C0"/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>
                          <a:latin typeface="+mj-lt"/>
                          <a:ea typeface="Calibri"/>
                          <a:cs typeface="Times New Roman"/>
                        </a:rPr>
                        <a:t>A</a:t>
                      </a:r>
                      <a:endParaRPr lang="fr-FR" sz="11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 smtClean="0">
                          <a:latin typeface="+mj-lt"/>
                          <a:ea typeface="Calibri"/>
                          <a:cs typeface="Times New Roman"/>
                        </a:rPr>
                        <a:t>C</a:t>
                      </a:r>
                      <a:endParaRPr lang="fr-FR" sz="11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 smtClean="0">
                          <a:latin typeface="+mj-lt"/>
                          <a:ea typeface="Calibri"/>
                          <a:cs typeface="Times New Roman"/>
                        </a:rPr>
                        <a:t>C</a:t>
                      </a:r>
                      <a:endParaRPr lang="fr-FR" sz="11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>
                          <a:latin typeface="+mj-lt"/>
                          <a:ea typeface="Calibri"/>
                          <a:cs typeface="Times New Roman"/>
                        </a:rPr>
                        <a:t>I</a:t>
                      </a:r>
                      <a:endParaRPr lang="fr-FR" sz="11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5" name="Espace réservé du pied de page 3"/>
          <p:cNvSpPr txBox="1">
            <a:spLocks noGrp="1"/>
          </p:cNvSpPr>
          <p:nvPr/>
        </p:nvSpPr>
        <p:spPr bwMode="gray">
          <a:xfrm>
            <a:off x="2771775" y="6416675"/>
            <a:ext cx="3597275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r>
              <a:rPr lang="fr-FR" sz="800" dirty="0"/>
              <a:t>C2  |  </a:t>
            </a:r>
            <a:r>
              <a:rPr lang="fr-FR" sz="800" dirty="0" smtClean="0"/>
              <a:t>EVOLUTION DES KITS PROJETS</a:t>
            </a:r>
            <a:endParaRPr lang="fr-FR" sz="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8626" name="Espace réservé du numéro de diapositive 2"/>
          <p:cNvSpPr txBox="1">
            <a:spLocks noGrp="1"/>
          </p:cNvSpPr>
          <p:nvPr/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r>
              <a:rPr lang="fr-FR" sz="800" b="1"/>
              <a:t>P.</a:t>
            </a:r>
            <a:fld id="{E6D26659-B040-412A-B23E-A8FEDBE209B4}" type="slidenum">
              <a:rPr lang="fr-FR" sz="800" b="1"/>
              <a:pPr algn="r"/>
              <a:t>9</a:t>
            </a:fld>
            <a:endParaRPr lang="fr-FR" sz="800" b="1"/>
          </a:p>
        </p:txBody>
      </p:sp>
      <p:sp>
        <p:nvSpPr>
          <p:cNvPr id="538627" name="Espace réservé du pied de page 3"/>
          <p:cNvSpPr txBox="1">
            <a:spLocks noGrp="1"/>
          </p:cNvSpPr>
          <p:nvPr/>
        </p:nvSpPr>
        <p:spPr bwMode="gray">
          <a:xfrm>
            <a:off x="2771775" y="6416675"/>
            <a:ext cx="3597275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r>
              <a:rPr lang="fr-FR" sz="800" dirty="0"/>
              <a:t>C2  |  </a:t>
            </a:r>
            <a:r>
              <a:rPr lang="fr-FR" sz="800" dirty="0" smtClean="0"/>
              <a:t>EVOLUTION DES KITS PROJETS</a:t>
            </a:r>
            <a:endParaRPr lang="fr-FR" sz="800" dirty="0"/>
          </a:p>
        </p:txBody>
      </p:sp>
      <p:sp>
        <p:nvSpPr>
          <p:cNvPr id="538629" name="Title 1"/>
          <p:cNvSpPr>
            <a:spLocks/>
          </p:cNvSpPr>
          <p:nvPr/>
        </p:nvSpPr>
        <p:spPr bwMode="gray">
          <a:xfrm>
            <a:off x="323850" y="188913"/>
            <a:ext cx="8604250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l"/>
            <a:r>
              <a:rPr lang="fr-FR" sz="1600" dirty="0" smtClean="0">
                <a:solidFill>
                  <a:srgbClr val="E60028"/>
                </a:solidFill>
              </a:rPr>
              <a:t>ANNEXES : COMPARATIF PHP V JOOMLA</a:t>
            </a:r>
            <a:endParaRPr lang="fr-FR" sz="1600" dirty="0">
              <a:solidFill>
                <a:srgbClr val="E60028"/>
              </a:solidFill>
            </a:endParaRPr>
          </a:p>
        </p:txBody>
      </p:sp>
      <p:sp>
        <p:nvSpPr>
          <p:cNvPr id="7" name="Content Placeholder 195"/>
          <p:cNvSpPr txBox="1">
            <a:spLocks/>
          </p:cNvSpPr>
          <p:nvPr/>
        </p:nvSpPr>
        <p:spPr bwMode="gray">
          <a:xfrm>
            <a:off x="323850" y="836613"/>
            <a:ext cx="8208963" cy="5364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742950" lvl="1" indent="-285750" eaLnBrk="0" hangingPunct="0">
              <a:lnSpc>
                <a:spcPct val="130000"/>
              </a:lnSpc>
              <a:buClr>
                <a:srgbClr val="666666"/>
              </a:buClr>
            </a:pPr>
            <a:endParaRPr lang="fr-FR" sz="10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8" name="Espace réservé de la date 6"/>
          <p:cNvSpPr txBox="1">
            <a:spLocks/>
          </p:cNvSpPr>
          <p:nvPr/>
        </p:nvSpPr>
        <p:spPr bwMode="gray">
          <a:xfrm>
            <a:off x="6516216" y="6416675"/>
            <a:ext cx="1814512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r">
              <a:defRPr/>
            </a:pPr>
            <a:r>
              <a:rPr lang="fr-FR" sz="800" dirty="0" smtClean="0"/>
              <a:t>22/04/2015</a:t>
            </a:r>
            <a:endParaRPr kumimoji="0" lang="fr-FR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9" name="Tableau 8"/>
          <p:cNvGraphicFramePr>
            <a:graphicFrameLocks noGrp="1"/>
          </p:cNvGraphicFramePr>
          <p:nvPr/>
        </p:nvGraphicFramePr>
        <p:xfrm>
          <a:off x="3923928" y="1052736"/>
          <a:ext cx="4752528" cy="5040565"/>
        </p:xfrm>
        <a:graphic>
          <a:graphicData uri="http://schemas.openxmlformats.org/drawingml/2006/table">
            <a:tbl>
              <a:tblPr/>
              <a:tblGrid>
                <a:gridCol w="1583832"/>
                <a:gridCol w="1584348"/>
                <a:gridCol w="1584348"/>
              </a:tblGrid>
              <a:tr h="14825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 b="1" dirty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/>
                        </a:rPr>
                        <a:t>Technologie</a:t>
                      </a:r>
                      <a:endParaRPr lang="fr-FR" sz="700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520" marR="425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62626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 b="1" dirty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/>
                        </a:rPr>
                        <a:t>PHP</a:t>
                      </a:r>
                      <a:endParaRPr lang="fr-FR" sz="700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520" marR="425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62626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 b="1" dirty="0" err="1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/>
                        </a:rPr>
                        <a:t>Joomla</a:t>
                      </a:r>
                      <a:endParaRPr lang="fr-FR" sz="700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520" marR="425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62626"/>
                    </a:solidFill>
                  </a:tcPr>
                </a:tc>
              </a:tr>
              <a:tr h="29650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Prise en main</a:t>
                      </a:r>
                    </a:p>
                  </a:txBody>
                  <a:tcPr marL="42520" marR="425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Rapide</a:t>
                      </a: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Temps de formation rapide</a:t>
                      </a:r>
                    </a:p>
                  </a:txBody>
                  <a:tcPr marL="42520" marR="425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Temps d’adaptation et de formation plus long</a:t>
                      </a:r>
                    </a:p>
                  </a:txBody>
                  <a:tcPr marL="42520" marR="425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650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Communauté</a:t>
                      </a:r>
                    </a:p>
                  </a:txBody>
                  <a:tcPr marL="42520" marR="425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Nous</a:t>
                      </a:r>
                    </a:p>
                  </a:txBody>
                  <a:tcPr marL="42520" marR="425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Grande communauté très active</a:t>
                      </a:r>
                    </a:p>
                  </a:txBody>
                  <a:tcPr marL="42520" marR="425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14825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266825" algn="l"/>
                        </a:tabLst>
                      </a:pPr>
                      <a:r>
                        <a:rPr lang="fr-FR" sz="70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Modulable ?</a:t>
                      </a:r>
                    </a:p>
                  </a:txBody>
                  <a:tcPr marL="42520" marR="425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Ajout de librairies</a:t>
                      </a:r>
                    </a:p>
                  </a:txBody>
                  <a:tcPr marL="42520" marR="425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Ajout de modules</a:t>
                      </a:r>
                    </a:p>
                  </a:txBody>
                  <a:tcPr marL="42520" marR="425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29650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Graphisme</a:t>
                      </a:r>
                    </a:p>
                  </a:txBody>
                  <a:tcPr marL="42520" marR="425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Templates CSS (ex :bootstrap), Liberté totale</a:t>
                      </a:r>
                    </a:p>
                  </a:txBody>
                  <a:tcPr marL="42520" marR="425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Thèmes personnalisables</a:t>
                      </a:r>
                    </a:p>
                  </a:txBody>
                  <a:tcPr marL="42520" marR="425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14825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Migration</a:t>
                      </a:r>
                    </a:p>
                  </a:txBody>
                  <a:tcPr marL="42520" marR="425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Très facile</a:t>
                      </a:r>
                    </a:p>
                  </a:txBody>
                  <a:tcPr marL="42520" marR="425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Plus complexe</a:t>
                      </a:r>
                    </a:p>
                  </a:txBody>
                  <a:tcPr marL="42520" marR="425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650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Performances</a:t>
                      </a:r>
                    </a:p>
                  </a:txBody>
                  <a:tcPr marL="42520" marR="425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Bonne (dépend surtout de la manière de coder)</a:t>
                      </a:r>
                    </a:p>
                  </a:txBody>
                  <a:tcPr marL="42520" marR="425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Pas terrible</a:t>
                      </a:r>
                    </a:p>
                  </a:txBody>
                  <a:tcPr marL="42520" marR="425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825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Français</a:t>
                      </a:r>
                    </a:p>
                  </a:txBody>
                  <a:tcPr marL="42520" marR="425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Non</a:t>
                      </a:r>
                    </a:p>
                  </a:txBody>
                  <a:tcPr marL="42520" marR="425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Traduit en Français</a:t>
                      </a:r>
                    </a:p>
                  </a:txBody>
                  <a:tcPr marL="42520" marR="425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14825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Sauvegarde auto</a:t>
                      </a:r>
                    </a:p>
                  </a:txBody>
                  <a:tcPr marL="42520" marR="425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Non</a:t>
                      </a:r>
                    </a:p>
                  </a:txBody>
                  <a:tcPr marL="42520" marR="425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Non</a:t>
                      </a:r>
                    </a:p>
                  </a:txBody>
                  <a:tcPr marL="42520" marR="425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8951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Modification du code source</a:t>
                      </a:r>
                    </a:p>
                  </a:txBody>
                  <a:tcPr marL="42520" marR="425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Aisément modifiable, l'ajout de pages diverses et variées se fait sans soucis. Possibilité de mises à jour sans trop de soucis.</a:t>
                      </a:r>
                    </a:p>
                  </a:txBody>
                  <a:tcPr marL="42520" marR="425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Un peu plus complexe.</a:t>
                      </a: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Incertitude quant à la modification de la structure même du code, par contre l'ajout de pages se fait facilement.</a:t>
                      </a:r>
                    </a:p>
                  </a:txBody>
                  <a:tcPr marL="42520" marR="425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37763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Sécurité</a:t>
                      </a:r>
                    </a:p>
                  </a:txBody>
                  <a:tcPr marL="42520" marR="425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Haute si bien faite, Manuelle, correction des failles par nous, nécessite des connaissances en sécurité WEB.</a:t>
                      </a:r>
                    </a:p>
                  </a:txBody>
                  <a:tcPr marL="42520" marR="425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Moyenne, si une nouvelle faille détectée il faut attendre la mise à jour. Les options relatives à la sécurité ne sont pas modifiables. Ne nécessite aucune connaissance particulière en sécurité WEB</a:t>
                      </a:r>
                    </a:p>
                  </a:txBody>
                  <a:tcPr marL="42520" marR="425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593007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Inconvénient(s) majeur(s)</a:t>
                      </a:r>
                    </a:p>
                  </a:txBody>
                  <a:tcPr marL="42520" marR="425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Pour les gros sites, risques de se perdre dans le code</a:t>
                      </a:r>
                    </a:p>
                  </a:txBody>
                  <a:tcPr marL="42520" marR="425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En utilisant un CMS, il faut faire le "ménage" parmi toutes les pages "inutiles" qui sont activées par défaut. </a:t>
                      </a:r>
                    </a:p>
                  </a:txBody>
                  <a:tcPr marL="42520" marR="425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650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Tutoriels</a:t>
                      </a:r>
                    </a:p>
                  </a:txBody>
                  <a:tcPr marL="42520" marR="425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Nombreux tutoriels notamment sur les librairies</a:t>
                      </a:r>
                    </a:p>
                  </a:txBody>
                  <a:tcPr marL="42520" marR="425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Moins de tutoriels que pour PHP</a:t>
                      </a:r>
                    </a:p>
                  </a:txBody>
                  <a:tcPr marL="42520" marR="425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650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Personnalisation</a:t>
                      </a:r>
                    </a:p>
                  </a:txBody>
                  <a:tcPr marL="42520" marR="425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Ultra personnalisable avec le CSS</a:t>
                      </a:r>
                    </a:p>
                  </a:txBody>
                  <a:tcPr marL="42520" marR="425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Limité aux fonctionnalités de l’outil</a:t>
                      </a:r>
                    </a:p>
                  </a:txBody>
                  <a:tcPr marL="42520" marR="425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0" name="Rectangle 9"/>
          <p:cNvSpPr/>
          <p:nvPr/>
        </p:nvSpPr>
        <p:spPr>
          <a:xfrm>
            <a:off x="1485019" y="5733256"/>
            <a:ext cx="1625190" cy="369332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r>
              <a:rPr lang="fr-FR" b="1" dirty="0" smtClean="0"/>
              <a:t>Avantageux :</a:t>
            </a:r>
            <a:endParaRPr lang="fr-FR" dirty="0"/>
          </a:p>
        </p:txBody>
      </p:sp>
      <p:sp>
        <p:nvSpPr>
          <p:cNvPr id="12" name="Rectangle 11"/>
          <p:cNvSpPr/>
          <p:nvPr/>
        </p:nvSpPr>
        <p:spPr>
          <a:xfrm>
            <a:off x="3059832" y="5733256"/>
            <a:ext cx="743102" cy="369332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txBody>
          <a:bodyPr wrap="square">
            <a:spAutoFit/>
          </a:bodyPr>
          <a:lstStyle/>
          <a:p>
            <a:r>
              <a:rPr lang="fr-FR" b="1" dirty="0" smtClean="0"/>
              <a:t>          </a:t>
            </a:r>
            <a:endParaRPr lang="fr-FR" dirty="0"/>
          </a:p>
        </p:txBody>
      </p:sp>
      <p:sp>
        <p:nvSpPr>
          <p:cNvPr id="14" name="Rectangle 13"/>
          <p:cNvSpPr/>
          <p:nvPr/>
        </p:nvSpPr>
        <p:spPr>
          <a:xfrm>
            <a:off x="179512" y="1412776"/>
            <a:ext cx="3456384" cy="32131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80975" algn="l" eaLnBrk="0" hangingPunct="0">
              <a:lnSpc>
                <a:spcPct val="130000"/>
              </a:lnSpc>
              <a:buClr>
                <a:srgbClr val="666666"/>
              </a:buClr>
              <a:buFont typeface="Wingdings" pitchFamily="2" charset="2"/>
              <a:buChar char="§"/>
            </a:pPr>
            <a:r>
              <a:rPr lang="fr-FR" sz="1200" b="1" dirty="0" smtClean="0"/>
              <a:t>Technologies proposées</a:t>
            </a:r>
          </a:p>
          <a:p>
            <a:pPr marL="742950" lvl="1" indent="-285750" algn="l" eaLnBrk="0" hangingPunct="0">
              <a:lnSpc>
                <a:spcPct val="130000"/>
              </a:lnSpc>
              <a:buClr>
                <a:srgbClr val="666666"/>
              </a:buClr>
              <a:buFont typeface="Wingdings" pitchFamily="2" charset="2"/>
              <a:buChar char="§"/>
            </a:pPr>
            <a:r>
              <a:rPr lang="fr-FR" sz="1000" b="1" dirty="0" smtClean="0"/>
              <a:t>Java J2EE</a:t>
            </a:r>
          </a:p>
          <a:p>
            <a:pPr marL="742950" lvl="1" indent="-285750" algn="l" eaLnBrk="0" hangingPunct="0">
              <a:lnSpc>
                <a:spcPct val="130000"/>
              </a:lnSpc>
              <a:buClr>
                <a:srgbClr val="666666"/>
              </a:buClr>
              <a:buFont typeface="Wingdings" pitchFamily="2" charset="2"/>
              <a:buChar char="§"/>
            </a:pPr>
            <a:r>
              <a:rPr lang="fr-FR" sz="1000" b="1" dirty="0" smtClean="0"/>
              <a:t>PHP5</a:t>
            </a:r>
          </a:p>
          <a:p>
            <a:pPr marL="742950" lvl="1" indent="-285750" algn="l" eaLnBrk="0" hangingPunct="0">
              <a:lnSpc>
                <a:spcPct val="130000"/>
              </a:lnSpc>
              <a:buClr>
                <a:srgbClr val="666666"/>
              </a:buClr>
              <a:buFont typeface="Wingdings" pitchFamily="2" charset="2"/>
              <a:buChar char="§"/>
            </a:pPr>
            <a:r>
              <a:rPr lang="fr-FR" sz="1000" b="1" dirty="0" smtClean="0"/>
              <a:t>CMS + PHP</a:t>
            </a:r>
          </a:p>
          <a:p>
            <a:pPr marL="742950" lvl="1" indent="-285750" algn="l" eaLnBrk="0" hangingPunct="0">
              <a:lnSpc>
                <a:spcPct val="130000"/>
              </a:lnSpc>
              <a:buClr>
                <a:srgbClr val="666666"/>
              </a:buClr>
              <a:buFont typeface="Wingdings" pitchFamily="2" charset="2"/>
              <a:buChar char="§"/>
            </a:pPr>
            <a:endParaRPr lang="fr-FR" sz="1000" b="1" dirty="0" smtClean="0"/>
          </a:p>
          <a:p>
            <a:pPr marL="285750" indent="-285750" algn="l" eaLnBrk="0" hangingPunct="0">
              <a:lnSpc>
                <a:spcPct val="130000"/>
              </a:lnSpc>
              <a:buClr>
                <a:srgbClr val="666666"/>
              </a:buClr>
              <a:buFont typeface="Wingdings" pitchFamily="2" charset="2"/>
              <a:buChar char="§"/>
            </a:pPr>
            <a:r>
              <a:rPr lang="fr-FR" sz="1200" b="1" dirty="0" smtClean="0"/>
              <a:t>Technologie retenue</a:t>
            </a:r>
          </a:p>
          <a:p>
            <a:pPr marL="742950" lvl="1" indent="-285750" algn="l" eaLnBrk="0" hangingPunct="0">
              <a:lnSpc>
                <a:spcPct val="130000"/>
              </a:lnSpc>
              <a:buClr>
                <a:srgbClr val="666666"/>
              </a:buClr>
              <a:buFont typeface="Wingdings" pitchFamily="2" charset="2"/>
              <a:buChar char="§"/>
            </a:pPr>
            <a:r>
              <a:rPr lang="fr-FR" sz="1000" b="1" dirty="0" smtClean="0"/>
              <a:t>PHP5/MySQL</a:t>
            </a:r>
          </a:p>
          <a:p>
            <a:pPr marL="742950" lvl="1" indent="-285750" algn="l" eaLnBrk="0" hangingPunct="0">
              <a:lnSpc>
                <a:spcPct val="130000"/>
              </a:lnSpc>
              <a:buClr>
                <a:srgbClr val="666666"/>
              </a:buClr>
              <a:buFont typeface="Wingdings" pitchFamily="2" charset="2"/>
              <a:buChar char="§"/>
            </a:pPr>
            <a:endParaRPr lang="fr-FR" sz="1000" b="1" dirty="0" smtClean="0"/>
          </a:p>
          <a:p>
            <a:pPr marL="285750" indent="-285750" algn="l" eaLnBrk="0" hangingPunct="0">
              <a:lnSpc>
                <a:spcPct val="130000"/>
              </a:lnSpc>
              <a:buClr>
                <a:srgbClr val="666666"/>
              </a:buClr>
              <a:buFont typeface="Wingdings" pitchFamily="2" charset="2"/>
              <a:buChar char="§"/>
            </a:pPr>
            <a:r>
              <a:rPr lang="fr-FR" sz="1200" b="1" dirty="0" smtClean="0"/>
              <a:t>Justification du choix</a:t>
            </a:r>
          </a:p>
          <a:p>
            <a:pPr marL="742950" lvl="1" indent="-285750" algn="l" eaLnBrk="0" hangingPunct="0">
              <a:lnSpc>
                <a:spcPct val="130000"/>
              </a:lnSpc>
              <a:buClr>
                <a:srgbClr val="666666"/>
              </a:buClr>
              <a:buFont typeface="Arial" pitchFamily="34" charset="0"/>
              <a:buChar char="•"/>
            </a:pPr>
            <a:r>
              <a:rPr lang="fr-FR" sz="1000" dirty="0" smtClean="0"/>
              <a:t>PHP plus rapide à installer et à prendre en main</a:t>
            </a:r>
          </a:p>
          <a:p>
            <a:pPr marL="742950" lvl="1" indent="-285750" algn="l" eaLnBrk="0" hangingPunct="0">
              <a:lnSpc>
                <a:spcPct val="130000"/>
              </a:lnSpc>
              <a:buClr>
                <a:srgbClr val="666666"/>
              </a:buClr>
              <a:buFont typeface="Arial" pitchFamily="34" charset="0"/>
              <a:buChar char="•"/>
            </a:pPr>
            <a:r>
              <a:rPr lang="fr-FR" sz="1000" dirty="0" smtClean="0"/>
              <a:t>PHP plus facile à </a:t>
            </a:r>
            <a:r>
              <a:rPr lang="fr-FR" sz="1000" dirty="0" err="1" smtClean="0"/>
              <a:t>deployer</a:t>
            </a:r>
            <a:r>
              <a:rPr lang="fr-FR" sz="1000" dirty="0" smtClean="0"/>
              <a:t>, (pour le J2EE il faudrait installer et surtout configurer </a:t>
            </a:r>
            <a:r>
              <a:rPr lang="fr-FR" sz="1000" dirty="0" err="1" smtClean="0"/>
              <a:t>maven</a:t>
            </a:r>
            <a:r>
              <a:rPr lang="fr-FR" sz="1000" dirty="0" smtClean="0"/>
              <a:t>)</a:t>
            </a:r>
          </a:p>
          <a:p>
            <a:pPr marL="742950" lvl="1" indent="-285750" algn="l" eaLnBrk="0" hangingPunct="0">
              <a:lnSpc>
                <a:spcPct val="130000"/>
              </a:lnSpc>
              <a:buClr>
                <a:srgbClr val="666666"/>
              </a:buClr>
              <a:buFont typeface="Arial" pitchFamily="34" charset="0"/>
              <a:buChar char="•"/>
            </a:pPr>
            <a:r>
              <a:rPr lang="fr-FR" sz="1000" dirty="0" smtClean="0"/>
              <a:t>Plus d’aisance avec PHP</a:t>
            </a:r>
          </a:p>
          <a:p>
            <a:pPr marL="742950" lvl="1" indent="-285750" algn="l" eaLnBrk="0" hangingPunct="0">
              <a:lnSpc>
                <a:spcPct val="130000"/>
              </a:lnSpc>
              <a:buClr>
                <a:srgbClr val="666666"/>
              </a:buClr>
              <a:buFont typeface="Arial" pitchFamily="34" charset="0"/>
              <a:buChar char="•"/>
            </a:pPr>
            <a:r>
              <a:rPr lang="fr-FR" sz="1000" dirty="0" smtClean="0"/>
              <a:t>Gain de temp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_CNTmP3KkijHLPBq2zE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ic1TNKfEyyFkQwT6umJ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UtS14nfUEOY3a7ROn8VR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pGWhS1rk6lh7NcldexYQ"/>
</p:tagLst>
</file>

<file path=ppt/theme/theme1.xml><?xml version="1.0" encoding="utf-8"?>
<a:theme xmlns:a="http://schemas.openxmlformats.org/drawingml/2006/main" name="SG_FR">
  <a:themeElements>
    <a:clrScheme name="SG_FR 1">
      <a:dk1>
        <a:srgbClr val="E60028"/>
      </a:dk1>
      <a:lt1>
        <a:srgbClr val="FFFFFF"/>
      </a:lt1>
      <a:dk2>
        <a:srgbClr val="7DBE78"/>
      </a:dk2>
      <a:lt2>
        <a:srgbClr val="6E6E87"/>
      </a:lt2>
      <a:accent1>
        <a:srgbClr val="69AACD"/>
      </a:accent1>
      <a:accent2>
        <a:srgbClr val="C8AAC3"/>
      </a:accent2>
      <a:accent3>
        <a:srgbClr val="FFFFFF"/>
      </a:accent3>
      <a:accent4>
        <a:srgbClr val="C40021"/>
      </a:accent4>
      <a:accent5>
        <a:srgbClr val="B9D2E3"/>
      </a:accent5>
      <a:accent6>
        <a:srgbClr val="B59AB0"/>
      </a:accent6>
      <a:hlink>
        <a:srgbClr val="F0B93C"/>
      </a:hlink>
      <a:folHlink>
        <a:srgbClr val="C86E5A"/>
      </a:folHlink>
    </a:clrScheme>
    <a:fontScheme name="SG_FR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  <a:cs typeface="Arial" charset="0"/>
          </a:defRPr>
        </a:defPPr>
      </a:lstStyle>
    </a:lnDef>
  </a:objectDefaults>
  <a:extraClrSchemeLst>
    <a:extraClrScheme>
      <a:clrScheme name="SG_FR 1">
        <a:dk1>
          <a:srgbClr val="E60028"/>
        </a:dk1>
        <a:lt1>
          <a:srgbClr val="FFFFFF"/>
        </a:lt1>
        <a:dk2>
          <a:srgbClr val="7DBE78"/>
        </a:dk2>
        <a:lt2>
          <a:srgbClr val="6E6E87"/>
        </a:lt2>
        <a:accent1>
          <a:srgbClr val="69AACD"/>
        </a:accent1>
        <a:accent2>
          <a:srgbClr val="C8AAC3"/>
        </a:accent2>
        <a:accent3>
          <a:srgbClr val="FFFFFF"/>
        </a:accent3>
        <a:accent4>
          <a:srgbClr val="C40021"/>
        </a:accent4>
        <a:accent5>
          <a:srgbClr val="B9D2E3"/>
        </a:accent5>
        <a:accent6>
          <a:srgbClr val="B59AB0"/>
        </a:accent6>
        <a:hlink>
          <a:srgbClr val="F0B93C"/>
        </a:hlink>
        <a:folHlink>
          <a:srgbClr val="C86E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1_SG_FR">
  <a:themeElements>
    <a:clrScheme name="11_SG_F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00000"/>
      </a:accent1>
      <a:accent2>
        <a:srgbClr val="191966"/>
      </a:accent2>
      <a:accent3>
        <a:srgbClr val="FFFFFF"/>
      </a:accent3>
      <a:accent4>
        <a:srgbClr val="000000"/>
      </a:accent4>
      <a:accent5>
        <a:srgbClr val="DCAAAA"/>
      </a:accent5>
      <a:accent6>
        <a:srgbClr val="16165C"/>
      </a:accent6>
      <a:hlink>
        <a:srgbClr val="000000"/>
      </a:hlink>
      <a:folHlink>
        <a:srgbClr val="000000"/>
      </a:folHlink>
    </a:clrScheme>
    <a:fontScheme name="11_SG_FR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1_SG_F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0000"/>
        </a:accent1>
        <a:accent2>
          <a:srgbClr val="191966"/>
        </a:accent2>
        <a:accent3>
          <a:srgbClr val="FFFFFF"/>
        </a:accent3>
        <a:accent4>
          <a:srgbClr val="000000"/>
        </a:accent4>
        <a:accent5>
          <a:srgbClr val="DCAAAA"/>
        </a:accent5>
        <a:accent6>
          <a:srgbClr val="16165C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3_SG_FR_Sommaire_1">
  <a:themeElements>
    <a:clrScheme name="3_SG_FR_Sommaire_1 1">
      <a:dk1>
        <a:srgbClr val="E60028"/>
      </a:dk1>
      <a:lt1>
        <a:srgbClr val="FFFFFF"/>
      </a:lt1>
      <a:dk2>
        <a:srgbClr val="7DBE78"/>
      </a:dk2>
      <a:lt2>
        <a:srgbClr val="6E6E87"/>
      </a:lt2>
      <a:accent1>
        <a:srgbClr val="69AACD"/>
      </a:accent1>
      <a:accent2>
        <a:srgbClr val="C8AAC3"/>
      </a:accent2>
      <a:accent3>
        <a:srgbClr val="FFFFFF"/>
      </a:accent3>
      <a:accent4>
        <a:srgbClr val="C40021"/>
      </a:accent4>
      <a:accent5>
        <a:srgbClr val="B9D2E3"/>
      </a:accent5>
      <a:accent6>
        <a:srgbClr val="B59AB0"/>
      </a:accent6>
      <a:hlink>
        <a:srgbClr val="F0B93C"/>
      </a:hlink>
      <a:folHlink>
        <a:srgbClr val="C86E5A"/>
      </a:folHlink>
    </a:clrScheme>
    <a:fontScheme name="3_SG_FR_Sommaire_1">
      <a:majorFont>
        <a:latin typeface="Arial"/>
        <a:ea typeface="MS PGothic"/>
        <a:cs typeface="Arial"/>
      </a:majorFont>
      <a:minorFont>
        <a:latin typeface="Arial"/>
        <a:ea typeface="MS PGothic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SG_FR_Sommaire_1 1">
        <a:dk1>
          <a:srgbClr val="E60028"/>
        </a:dk1>
        <a:lt1>
          <a:srgbClr val="FFFFFF"/>
        </a:lt1>
        <a:dk2>
          <a:srgbClr val="7DBE78"/>
        </a:dk2>
        <a:lt2>
          <a:srgbClr val="6E6E87"/>
        </a:lt2>
        <a:accent1>
          <a:srgbClr val="69AACD"/>
        </a:accent1>
        <a:accent2>
          <a:srgbClr val="C8AAC3"/>
        </a:accent2>
        <a:accent3>
          <a:srgbClr val="FFFFFF"/>
        </a:accent3>
        <a:accent4>
          <a:srgbClr val="C40021"/>
        </a:accent4>
        <a:accent5>
          <a:srgbClr val="B9D2E3"/>
        </a:accent5>
        <a:accent6>
          <a:srgbClr val="B59AB0"/>
        </a:accent6>
        <a:hlink>
          <a:srgbClr val="F0B93C"/>
        </a:hlink>
        <a:folHlink>
          <a:srgbClr val="C86E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2_SG_FR">
  <a:themeElements>
    <a:clrScheme name="">
      <a:dk1>
        <a:srgbClr val="000000"/>
      </a:dk1>
      <a:lt1>
        <a:srgbClr val="FFFFFF"/>
      </a:lt1>
      <a:dk2>
        <a:srgbClr val="7DBE78"/>
      </a:dk2>
      <a:lt2>
        <a:srgbClr val="6E6E87"/>
      </a:lt2>
      <a:accent1>
        <a:srgbClr val="69AACD"/>
      </a:accent1>
      <a:accent2>
        <a:srgbClr val="C8AAC3"/>
      </a:accent2>
      <a:accent3>
        <a:srgbClr val="FFFFFF"/>
      </a:accent3>
      <a:accent4>
        <a:srgbClr val="000000"/>
      </a:accent4>
      <a:accent5>
        <a:srgbClr val="B9D2E3"/>
      </a:accent5>
      <a:accent6>
        <a:srgbClr val="B59AB0"/>
      </a:accent6>
      <a:hlink>
        <a:srgbClr val="F0B93C"/>
      </a:hlink>
      <a:folHlink>
        <a:srgbClr val="C86E5A"/>
      </a:folHlink>
    </a:clrScheme>
    <a:fontScheme name="2_SG_FR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SG_FR 1">
        <a:dk1>
          <a:srgbClr val="E60028"/>
        </a:dk1>
        <a:lt1>
          <a:srgbClr val="FFFFFF"/>
        </a:lt1>
        <a:dk2>
          <a:srgbClr val="7DBE78"/>
        </a:dk2>
        <a:lt2>
          <a:srgbClr val="6E6E87"/>
        </a:lt2>
        <a:accent1>
          <a:srgbClr val="69AACD"/>
        </a:accent1>
        <a:accent2>
          <a:srgbClr val="C8AAC3"/>
        </a:accent2>
        <a:accent3>
          <a:srgbClr val="FFFFFF"/>
        </a:accent3>
        <a:accent4>
          <a:srgbClr val="C40021"/>
        </a:accent4>
        <a:accent5>
          <a:srgbClr val="B9D2E3"/>
        </a:accent5>
        <a:accent6>
          <a:srgbClr val="B59AB0"/>
        </a:accent6>
        <a:hlink>
          <a:srgbClr val="F0B93C"/>
        </a:hlink>
        <a:folHlink>
          <a:srgbClr val="C86E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3_SG_FR">
  <a:themeElements>
    <a:clrScheme name="3_SG_FR 1">
      <a:dk1>
        <a:srgbClr val="E60028"/>
      </a:dk1>
      <a:lt1>
        <a:srgbClr val="FFFFFF"/>
      </a:lt1>
      <a:dk2>
        <a:srgbClr val="7DBE78"/>
      </a:dk2>
      <a:lt2>
        <a:srgbClr val="6E6E87"/>
      </a:lt2>
      <a:accent1>
        <a:srgbClr val="69AACD"/>
      </a:accent1>
      <a:accent2>
        <a:srgbClr val="C8AAC3"/>
      </a:accent2>
      <a:accent3>
        <a:srgbClr val="FFFFFF"/>
      </a:accent3>
      <a:accent4>
        <a:srgbClr val="C40021"/>
      </a:accent4>
      <a:accent5>
        <a:srgbClr val="B9D2E3"/>
      </a:accent5>
      <a:accent6>
        <a:srgbClr val="B59AB0"/>
      </a:accent6>
      <a:hlink>
        <a:srgbClr val="F0B93C"/>
      </a:hlink>
      <a:folHlink>
        <a:srgbClr val="C86E5A"/>
      </a:folHlink>
    </a:clrScheme>
    <a:fontScheme name="3_SG_FR">
      <a:majorFont>
        <a:latin typeface="Arial"/>
        <a:ea typeface="MS PGothic"/>
        <a:cs typeface="Arial"/>
      </a:majorFont>
      <a:minorFont>
        <a:latin typeface="Arial"/>
        <a:ea typeface="MS PGothic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SG_FR 1">
        <a:dk1>
          <a:srgbClr val="E60028"/>
        </a:dk1>
        <a:lt1>
          <a:srgbClr val="FFFFFF"/>
        </a:lt1>
        <a:dk2>
          <a:srgbClr val="7DBE78"/>
        </a:dk2>
        <a:lt2>
          <a:srgbClr val="6E6E87"/>
        </a:lt2>
        <a:accent1>
          <a:srgbClr val="69AACD"/>
        </a:accent1>
        <a:accent2>
          <a:srgbClr val="C8AAC3"/>
        </a:accent2>
        <a:accent3>
          <a:srgbClr val="FFFFFF"/>
        </a:accent3>
        <a:accent4>
          <a:srgbClr val="C40021"/>
        </a:accent4>
        <a:accent5>
          <a:srgbClr val="B9D2E3"/>
        </a:accent5>
        <a:accent6>
          <a:srgbClr val="B59AB0"/>
        </a:accent6>
        <a:hlink>
          <a:srgbClr val="F0B93C"/>
        </a:hlink>
        <a:folHlink>
          <a:srgbClr val="C86E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4_SG_FR">
  <a:themeElements>
    <a:clrScheme name="4_SG_FR 1">
      <a:dk1>
        <a:srgbClr val="E60028"/>
      </a:dk1>
      <a:lt1>
        <a:srgbClr val="FFFFFF"/>
      </a:lt1>
      <a:dk2>
        <a:srgbClr val="7DBE78"/>
      </a:dk2>
      <a:lt2>
        <a:srgbClr val="6E6E87"/>
      </a:lt2>
      <a:accent1>
        <a:srgbClr val="69AACD"/>
      </a:accent1>
      <a:accent2>
        <a:srgbClr val="C8AAC3"/>
      </a:accent2>
      <a:accent3>
        <a:srgbClr val="FFFFFF"/>
      </a:accent3>
      <a:accent4>
        <a:srgbClr val="C40021"/>
      </a:accent4>
      <a:accent5>
        <a:srgbClr val="B9D2E3"/>
      </a:accent5>
      <a:accent6>
        <a:srgbClr val="B59AB0"/>
      </a:accent6>
      <a:hlink>
        <a:srgbClr val="F0B93C"/>
      </a:hlink>
      <a:folHlink>
        <a:srgbClr val="C86E5A"/>
      </a:folHlink>
    </a:clrScheme>
    <a:fontScheme name="4_SG_FR">
      <a:majorFont>
        <a:latin typeface="Arial"/>
        <a:ea typeface="MS PGothic"/>
        <a:cs typeface="Arial"/>
      </a:majorFont>
      <a:minorFont>
        <a:latin typeface="Arial"/>
        <a:ea typeface="MS PGothic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_SG_FR 1">
        <a:dk1>
          <a:srgbClr val="E60028"/>
        </a:dk1>
        <a:lt1>
          <a:srgbClr val="FFFFFF"/>
        </a:lt1>
        <a:dk2>
          <a:srgbClr val="7DBE78"/>
        </a:dk2>
        <a:lt2>
          <a:srgbClr val="6E6E87"/>
        </a:lt2>
        <a:accent1>
          <a:srgbClr val="69AACD"/>
        </a:accent1>
        <a:accent2>
          <a:srgbClr val="C8AAC3"/>
        </a:accent2>
        <a:accent3>
          <a:srgbClr val="FFFFFF"/>
        </a:accent3>
        <a:accent4>
          <a:srgbClr val="C40021"/>
        </a:accent4>
        <a:accent5>
          <a:srgbClr val="B9D2E3"/>
        </a:accent5>
        <a:accent6>
          <a:srgbClr val="B59AB0"/>
        </a:accent6>
        <a:hlink>
          <a:srgbClr val="F0B93C"/>
        </a:hlink>
        <a:folHlink>
          <a:srgbClr val="C86E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2_SG_FR">
  <a:themeElements>
    <a:clrScheme name="12_SG_F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00000"/>
      </a:accent1>
      <a:accent2>
        <a:srgbClr val="191966"/>
      </a:accent2>
      <a:accent3>
        <a:srgbClr val="FFFFFF"/>
      </a:accent3>
      <a:accent4>
        <a:srgbClr val="000000"/>
      </a:accent4>
      <a:accent5>
        <a:srgbClr val="DCAAAA"/>
      </a:accent5>
      <a:accent6>
        <a:srgbClr val="16165C"/>
      </a:accent6>
      <a:hlink>
        <a:srgbClr val="000000"/>
      </a:hlink>
      <a:folHlink>
        <a:srgbClr val="000000"/>
      </a:folHlink>
    </a:clrScheme>
    <a:fontScheme name="12_SG_FR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2_SG_F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0000"/>
        </a:accent1>
        <a:accent2>
          <a:srgbClr val="191966"/>
        </a:accent2>
        <a:accent3>
          <a:srgbClr val="FFFFFF"/>
        </a:accent3>
        <a:accent4>
          <a:srgbClr val="000000"/>
        </a:accent4>
        <a:accent5>
          <a:srgbClr val="DCAAAA"/>
        </a:accent5>
        <a:accent6>
          <a:srgbClr val="16165C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9_SG_FR">
  <a:themeElements>
    <a:clrScheme name="9_SG_F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00000"/>
      </a:accent1>
      <a:accent2>
        <a:srgbClr val="191966"/>
      </a:accent2>
      <a:accent3>
        <a:srgbClr val="FFFFFF"/>
      </a:accent3>
      <a:accent4>
        <a:srgbClr val="000000"/>
      </a:accent4>
      <a:accent5>
        <a:srgbClr val="DCAAAA"/>
      </a:accent5>
      <a:accent6>
        <a:srgbClr val="16165C"/>
      </a:accent6>
      <a:hlink>
        <a:srgbClr val="000000"/>
      </a:hlink>
      <a:folHlink>
        <a:srgbClr val="000000"/>
      </a:folHlink>
    </a:clrScheme>
    <a:fontScheme name="9_SG_FR">
      <a:majorFont>
        <a:latin typeface="Arial"/>
        <a:ea typeface="MS PGothic"/>
        <a:cs typeface="Arial"/>
      </a:majorFont>
      <a:minorFont>
        <a:latin typeface="Arial"/>
        <a:ea typeface="MS PGothic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9_SG_F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0000"/>
        </a:accent1>
        <a:accent2>
          <a:srgbClr val="191966"/>
        </a:accent2>
        <a:accent3>
          <a:srgbClr val="FFFFFF"/>
        </a:accent3>
        <a:accent4>
          <a:srgbClr val="000000"/>
        </a:accent4>
        <a:accent5>
          <a:srgbClr val="DCAAAA"/>
        </a:accent5>
        <a:accent6>
          <a:srgbClr val="16165C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6_SG_FR">
  <a:themeElements>
    <a:clrScheme name="6_SG_FR 1">
      <a:dk1>
        <a:srgbClr val="E60028"/>
      </a:dk1>
      <a:lt1>
        <a:srgbClr val="FFFFFF"/>
      </a:lt1>
      <a:dk2>
        <a:srgbClr val="7DBE78"/>
      </a:dk2>
      <a:lt2>
        <a:srgbClr val="6E6E87"/>
      </a:lt2>
      <a:accent1>
        <a:srgbClr val="69AACD"/>
      </a:accent1>
      <a:accent2>
        <a:srgbClr val="C8AAC3"/>
      </a:accent2>
      <a:accent3>
        <a:srgbClr val="FFFFFF"/>
      </a:accent3>
      <a:accent4>
        <a:srgbClr val="C40021"/>
      </a:accent4>
      <a:accent5>
        <a:srgbClr val="B9D2E3"/>
      </a:accent5>
      <a:accent6>
        <a:srgbClr val="B59AB0"/>
      </a:accent6>
      <a:hlink>
        <a:srgbClr val="F0B93C"/>
      </a:hlink>
      <a:folHlink>
        <a:srgbClr val="C86E5A"/>
      </a:folHlink>
    </a:clrScheme>
    <a:fontScheme name="6_SG_FR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6_SG_FR 1">
        <a:dk1>
          <a:srgbClr val="E60028"/>
        </a:dk1>
        <a:lt1>
          <a:srgbClr val="FFFFFF"/>
        </a:lt1>
        <a:dk2>
          <a:srgbClr val="7DBE78"/>
        </a:dk2>
        <a:lt2>
          <a:srgbClr val="6E6E87"/>
        </a:lt2>
        <a:accent1>
          <a:srgbClr val="69AACD"/>
        </a:accent1>
        <a:accent2>
          <a:srgbClr val="C8AAC3"/>
        </a:accent2>
        <a:accent3>
          <a:srgbClr val="FFFFFF"/>
        </a:accent3>
        <a:accent4>
          <a:srgbClr val="C40021"/>
        </a:accent4>
        <a:accent5>
          <a:srgbClr val="B9D2E3"/>
        </a:accent5>
        <a:accent6>
          <a:srgbClr val="B59AB0"/>
        </a:accent6>
        <a:hlink>
          <a:srgbClr val="F0B93C"/>
        </a:hlink>
        <a:folHlink>
          <a:srgbClr val="C86E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13_SG_FR">
  <a:themeElements>
    <a:clrScheme name="13_SG_FR 1">
      <a:dk1>
        <a:srgbClr val="E60028"/>
      </a:dk1>
      <a:lt1>
        <a:srgbClr val="FFFFFF"/>
      </a:lt1>
      <a:dk2>
        <a:srgbClr val="7DBE78"/>
      </a:dk2>
      <a:lt2>
        <a:srgbClr val="6E6E87"/>
      </a:lt2>
      <a:accent1>
        <a:srgbClr val="69AACD"/>
      </a:accent1>
      <a:accent2>
        <a:srgbClr val="C8AAC3"/>
      </a:accent2>
      <a:accent3>
        <a:srgbClr val="FFFFFF"/>
      </a:accent3>
      <a:accent4>
        <a:srgbClr val="C40021"/>
      </a:accent4>
      <a:accent5>
        <a:srgbClr val="B9D2E3"/>
      </a:accent5>
      <a:accent6>
        <a:srgbClr val="B59AB0"/>
      </a:accent6>
      <a:hlink>
        <a:srgbClr val="F0B93C"/>
      </a:hlink>
      <a:folHlink>
        <a:srgbClr val="C86E5A"/>
      </a:folHlink>
    </a:clrScheme>
    <a:fontScheme name="13_SG_FR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3_SG_FR 1">
        <a:dk1>
          <a:srgbClr val="E60028"/>
        </a:dk1>
        <a:lt1>
          <a:srgbClr val="FFFFFF"/>
        </a:lt1>
        <a:dk2>
          <a:srgbClr val="7DBE78"/>
        </a:dk2>
        <a:lt2>
          <a:srgbClr val="6E6E87"/>
        </a:lt2>
        <a:accent1>
          <a:srgbClr val="69AACD"/>
        </a:accent1>
        <a:accent2>
          <a:srgbClr val="C8AAC3"/>
        </a:accent2>
        <a:accent3>
          <a:srgbClr val="FFFFFF"/>
        </a:accent3>
        <a:accent4>
          <a:srgbClr val="C40021"/>
        </a:accent4>
        <a:accent5>
          <a:srgbClr val="B9D2E3"/>
        </a:accent5>
        <a:accent6>
          <a:srgbClr val="B59AB0"/>
        </a:accent6>
        <a:hlink>
          <a:srgbClr val="F0B93C"/>
        </a:hlink>
        <a:folHlink>
          <a:srgbClr val="C86E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14_SG_FR">
  <a:themeElements>
    <a:clrScheme name="">
      <a:dk1>
        <a:srgbClr val="000000"/>
      </a:dk1>
      <a:lt1>
        <a:srgbClr val="FFFFFF"/>
      </a:lt1>
      <a:dk2>
        <a:srgbClr val="7DBE78"/>
      </a:dk2>
      <a:lt2>
        <a:srgbClr val="6E6E87"/>
      </a:lt2>
      <a:accent1>
        <a:srgbClr val="69AACD"/>
      </a:accent1>
      <a:accent2>
        <a:srgbClr val="C8AAC3"/>
      </a:accent2>
      <a:accent3>
        <a:srgbClr val="FFFFFF"/>
      </a:accent3>
      <a:accent4>
        <a:srgbClr val="000000"/>
      </a:accent4>
      <a:accent5>
        <a:srgbClr val="B9D2E3"/>
      </a:accent5>
      <a:accent6>
        <a:srgbClr val="B59AB0"/>
      </a:accent6>
      <a:hlink>
        <a:srgbClr val="F0B93C"/>
      </a:hlink>
      <a:folHlink>
        <a:srgbClr val="C86E5A"/>
      </a:folHlink>
    </a:clrScheme>
    <a:fontScheme name="14_SG_FR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4_SG_FR 1">
        <a:dk1>
          <a:srgbClr val="E60028"/>
        </a:dk1>
        <a:lt1>
          <a:srgbClr val="FFFFFF"/>
        </a:lt1>
        <a:dk2>
          <a:srgbClr val="7DBE78"/>
        </a:dk2>
        <a:lt2>
          <a:srgbClr val="6E6E87"/>
        </a:lt2>
        <a:accent1>
          <a:srgbClr val="69AACD"/>
        </a:accent1>
        <a:accent2>
          <a:srgbClr val="C8AAC3"/>
        </a:accent2>
        <a:accent3>
          <a:srgbClr val="FFFFFF"/>
        </a:accent3>
        <a:accent4>
          <a:srgbClr val="C40021"/>
        </a:accent4>
        <a:accent5>
          <a:srgbClr val="B9D2E3"/>
        </a:accent5>
        <a:accent6>
          <a:srgbClr val="B59AB0"/>
        </a:accent6>
        <a:hlink>
          <a:srgbClr val="F0B93C"/>
        </a:hlink>
        <a:folHlink>
          <a:srgbClr val="C86E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SG_FR_Sommaire_1">
  <a:themeElements>
    <a:clrScheme name="1_SG_FR_Sommaire_1 1">
      <a:dk1>
        <a:srgbClr val="E60028"/>
      </a:dk1>
      <a:lt1>
        <a:srgbClr val="FFFFFF"/>
      </a:lt1>
      <a:dk2>
        <a:srgbClr val="7DBE78"/>
      </a:dk2>
      <a:lt2>
        <a:srgbClr val="6E6E87"/>
      </a:lt2>
      <a:accent1>
        <a:srgbClr val="69AACD"/>
      </a:accent1>
      <a:accent2>
        <a:srgbClr val="C8AAC3"/>
      </a:accent2>
      <a:accent3>
        <a:srgbClr val="FFFFFF"/>
      </a:accent3>
      <a:accent4>
        <a:srgbClr val="C40021"/>
      </a:accent4>
      <a:accent5>
        <a:srgbClr val="B9D2E3"/>
      </a:accent5>
      <a:accent6>
        <a:srgbClr val="B59AB0"/>
      </a:accent6>
      <a:hlink>
        <a:srgbClr val="F0B93C"/>
      </a:hlink>
      <a:folHlink>
        <a:srgbClr val="C86E5A"/>
      </a:folHlink>
    </a:clrScheme>
    <a:fontScheme name="1_SG_FR_Sommaire_1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  <a:cs typeface="Arial" charset="0"/>
          </a:defRPr>
        </a:defPPr>
      </a:lstStyle>
    </a:lnDef>
  </a:objectDefaults>
  <a:extraClrSchemeLst>
    <a:extraClrScheme>
      <a:clrScheme name="1_SG_FR_Sommaire_1 1">
        <a:dk1>
          <a:srgbClr val="E60028"/>
        </a:dk1>
        <a:lt1>
          <a:srgbClr val="FFFFFF"/>
        </a:lt1>
        <a:dk2>
          <a:srgbClr val="7DBE78"/>
        </a:dk2>
        <a:lt2>
          <a:srgbClr val="6E6E87"/>
        </a:lt2>
        <a:accent1>
          <a:srgbClr val="69AACD"/>
        </a:accent1>
        <a:accent2>
          <a:srgbClr val="C8AAC3"/>
        </a:accent2>
        <a:accent3>
          <a:srgbClr val="FFFFFF"/>
        </a:accent3>
        <a:accent4>
          <a:srgbClr val="C40021"/>
        </a:accent4>
        <a:accent5>
          <a:srgbClr val="B9D2E3"/>
        </a:accent5>
        <a:accent6>
          <a:srgbClr val="B59AB0"/>
        </a:accent6>
        <a:hlink>
          <a:srgbClr val="F0B93C"/>
        </a:hlink>
        <a:folHlink>
          <a:srgbClr val="C86E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17_SG_FR">
  <a:themeElements>
    <a:clrScheme name="17_SG_F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00000"/>
      </a:accent1>
      <a:accent2>
        <a:srgbClr val="191966"/>
      </a:accent2>
      <a:accent3>
        <a:srgbClr val="FFFFFF"/>
      </a:accent3>
      <a:accent4>
        <a:srgbClr val="000000"/>
      </a:accent4>
      <a:accent5>
        <a:srgbClr val="DCAAAA"/>
      </a:accent5>
      <a:accent6>
        <a:srgbClr val="16165C"/>
      </a:accent6>
      <a:hlink>
        <a:srgbClr val="000000"/>
      </a:hlink>
      <a:folHlink>
        <a:srgbClr val="000000"/>
      </a:folHlink>
    </a:clrScheme>
    <a:fontScheme name="17_SG_FR">
      <a:majorFont>
        <a:latin typeface="Arial"/>
        <a:ea typeface="MS PGothic"/>
        <a:cs typeface="Arial"/>
      </a:majorFont>
      <a:minorFont>
        <a:latin typeface="Arial"/>
        <a:ea typeface="MS PGothic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7_SG_F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0000"/>
        </a:accent1>
        <a:accent2>
          <a:srgbClr val="191966"/>
        </a:accent2>
        <a:accent3>
          <a:srgbClr val="FFFFFF"/>
        </a:accent3>
        <a:accent4>
          <a:srgbClr val="000000"/>
        </a:accent4>
        <a:accent5>
          <a:srgbClr val="DCAAAA"/>
        </a:accent5>
        <a:accent6>
          <a:srgbClr val="16165C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18_SG_FR">
  <a:themeElements>
    <a:clrScheme name="18_SG_F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00000"/>
      </a:accent1>
      <a:accent2>
        <a:srgbClr val="191966"/>
      </a:accent2>
      <a:accent3>
        <a:srgbClr val="FFFFFF"/>
      </a:accent3>
      <a:accent4>
        <a:srgbClr val="000000"/>
      </a:accent4>
      <a:accent5>
        <a:srgbClr val="DCAAAA"/>
      </a:accent5>
      <a:accent6>
        <a:srgbClr val="16165C"/>
      </a:accent6>
      <a:hlink>
        <a:srgbClr val="000000"/>
      </a:hlink>
      <a:folHlink>
        <a:srgbClr val="000000"/>
      </a:folHlink>
    </a:clrScheme>
    <a:fontScheme name="18_SG_FR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8_SG_F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0000"/>
        </a:accent1>
        <a:accent2>
          <a:srgbClr val="191966"/>
        </a:accent2>
        <a:accent3>
          <a:srgbClr val="FFFFFF"/>
        </a:accent3>
        <a:accent4>
          <a:srgbClr val="000000"/>
        </a:accent4>
        <a:accent5>
          <a:srgbClr val="DCAAAA"/>
        </a:accent5>
        <a:accent6>
          <a:srgbClr val="16165C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19_SG_FR">
  <a:themeElements>
    <a:clrScheme name="19_SG_F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00000"/>
      </a:accent1>
      <a:accent2>
        <a:srgbClr val="191966"/>
      </a:accent2>
      <a:accent3>
        <a:srgbClr val="FFFFFF"/>
      </a:accent3>
      <a:accent4>
        <a:srgbClr val="000000"/>
      </a:accent4>
      <a:accent5>
        <a:srgbClr val="DCAAAA"/>
      </a:accent5>
      <a:accent6>
        <a:srgbClr val="16165C"/>
      </a:accent6>
      <a:hlink>
        <a:srgbClr val="000000"/>
      </a:hlink>
      <a:folHlink>
        <a:srgbClr val="000000"/>
      </a:folHlink>
    </a:clrScheme>
    <a:fontScheme name="19_SG_FR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SG_F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0000"/>
        </a:accent1>
        <a:accent2>
          <a:srgbClr val="191966"/>
        </a:accent2>
        <a:accent3>
          <a:srgbClr val="FFFFFF"/>
        </a:accent3>
        <a:accent4>
          <a:srgbClr val="000000"/>
        </a:accent4>
        <a:accent5>
          <a:srgbClr val="DCAAAA"/>
        </a:accent5>
        <a:accent6>
          <a:srgbClr val="16165C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3.xml><?xml version="1.0" encoding="utf-8"?>
<a:theme xmlns:a="http://schemas.openxmlformats.org/drawingml/2006/main" name="20_SG_FR">
  <a:themeElements>
    <a:clrScheme name="20_SG_FR 1">
      <a:dk1>
        <a:srgbClr val="E60028"/>
      </a:dk1>
      <a:lt1>
        <a:srgbClr val="FFFFFF"/>
      </a:lt1>
      <a:dk2>
        <a:srgbClr val="7DBE78"/>
      </a:dk2>
      <a:lt2>
        <a:srgbClr val="6E6E87"/>
      </a:lt2>
      <a:accent1>
        <a:srgbClr val="69AACD"/>
      </a:accent1>
      <a:accent2>
        <a:srgbClr val="C8AAC3"/>
      </a:accent2>
      <a:accent3>
        <a:srgbClr val="FFFFFF"/>
      </a:accent3>
      <a:accent4>
        <a:srgbClr val="C40021"/>
      </a:accent4>
      <a:accent5>
        <a:srgbClr val="B9D2E3"/>
      </a:accent5>
      <a:accent6>
        <a:srgbClr val="B59AB0"/>
      </a:accent6>
      <a:hlink>
        <a:srgbClr val="F0B93C"/>
      </a:hlink>
      <a:folHlink>
        <a:srgbClr val="C86E5A"/>
      </a:folHlink>
    </a:clrScheme>
    <a:fontScheme name="20_SG_FR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0_SG_FR 1">
        <a:dk1>
          <a:srgbClr val="E60028"/>
        </a:dk1>
        <a:lt1>
          <a:srgbClr val="FFFFFF"/>
        </a:lt1>
        <a:dk2>
          <a:srgbClr val="7DBE78"/>
        </a:dk2>
        <a:lt2>
          <a:srgbClr val="6E6E87"/>
        </a:lt2>
        <a:accent1>
          <a:srgbClr val="69AACD"/>
        </a:accent1>
        <a:accent2>
          <a:srgbClr val="C8AAC3"/>
        </a:accent2>
        <a:accent3>
          <a:srgbClr val="FFFFFF"/>
        </a:accent3>
        <a:accent4>
          <a:srgbClr val="C40021"/>
        </a:accent4>
        <a:accent5>
          <a:srgbClr val="B9D2E3"/>
        </a:accent5>
        <a:accent6>
          <a:srgbClr val="B59AB0"/>
        </a:accent6>
        <a:hlink>
          <a:srgbClr val="F0B93C"/>
        </a:hlink>
        <a:folHlink>
          <a:srgbClr val="C86E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4.xml><?xml version="1.0" encoding="utf-8"?>
<a:theme xmlns:a="http://schemas.openxmlformats.org/drawingml/2006/main" name="34_SG_FR">
  <a:themeElements>
    <a:clrScheme name="34_SG_FR 1">
      <a:dk1>
        <a:srgbClr val="E60028"/>
      </a:dk1>
      <a:lt1>
        <a:srgbClr val="FFFFFF"/>
      </a:lt1>
      <a:dk2>
        <a:srgbClr val="7DBE78"/>
      </a:dk2>
      <a:lt2>
        <a:srgbClr val="6E6E87"/>
      </a:lt2>
      <a:accent1>
        <a:srgbClr val="69AACD"/>
      </a:accent1>
      <a:accent2>
        <a:srgbClr val="C8AAC3"/>
      </a:accent2>
      <a:accent3>
        <a:srgbClr val="FFFFFF"/>
      </a:accent3>
      <a:accent4>
        <a:srgbClr val="C40021"/>
      </a:accent4>
      <a:accent5>
        <a:srgbClr val="B9D2E3"/>
      </a:accent5>
      <a:accent6>
        <a:srgbClr val="B59AB0"/>
      </a:accent6>
      <a:hlink>
        <a:srgbClr val="F0B93C"/>
      </a:hlink>
      <a:folHlink>
        <a:srgbClr val="C86E5A"/>
      </a:folHlink>
    </a:clrScheme>
    <a:fontScheme name="34_SG_FR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4_SG_FR 1">
        <a:dk1>
          <a:srgbClr val="E60028"/>
        </a:dk1>
        <a:lt1>
          <a:srgbClr val="FFFFFF"/>
        </a:lt1>
        <a:dk2>
          <a:srgbClr val="7DBE78"/>
        </a:dk2>
        <a:lt2>
          <a:srgbClr val="6E6E87"/>
        </a:lt2>
        <a:accent1>
          <a:srgbClr val="69AACD"/>
        </a:accent1>
        <a:accent2>
          <a:srgbClr val="C8AAC3"/>
        </a:accent2>
        <a:accent3>
          <a:srgbClr val="FFFFFF"/>
        </a:accent3>
        <a:accent4>
          <a:srgbClr val="C40021"/>
        </a:accent4>
        <a:accent5>
          <a:srgbClr val="B9D2E3"/>
        </a:accent5>
        <a:accent6>
          <a:srgbClr val="B59AB0"/>
        </a:accent6>
        <a:hlink>
          <a:srgbClr val="F0B93C"/>
        </a:hlink>
        <a:folHlink>
          <a:srgbClr val="C86E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5.xml><?xml version="1.0" encoding="utf-8"?>
<a:theme xmlns:a="http://schemas.openxmlformats.org/drawingml/2006/main" name="21_SG_FR">
  <a:themeElements>
    <a:clrScheme name="21_SG_FR 1">
      <a:dk1>
        <a:srgbClr val="E60028"/>
      </a:dk1>
      <a:lt1>
        <a:srgbClr val="FFFFFF"/>
      </a:lt1>
      <a:dk2>
        <a:srgbClr val="7DBE78"/>
      </a:dk2>
      <a:lt2>
        <a:srgbClr val="6E6E87"/>
      </a:lt2>
      <a:accent1>
        <a:srgbClr val="69AACD"/>
      </a:accent1>
      <a:accent2>
        <a:srgbClr val="C8AAC3"/>
      </a:accent2>
      <a:accent3>
        <a:srgbClr val="FFFFFF"/>
      </a:accent3>
      <a:accent4>
        <a:srgbClr val="C40021"/>
      </a:accent4>
      <a:accent5>
        <a:srgbClr val="B9D2E3"/>
      </a:accent5>
      <a:accent6>
        <a:srgbClr val="B59AB0"/>
      </a:accent6>
      <a:hlink>
        <a:srgbClr val="F0B93C"/>
      </a:hlink>
      <a:folHlink>
        <a:srgbClr val="C86E5A"/>
      </a:folHlink>
    </a:clrScheme>
    <a:fontScheme name="21_SG_FR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1_SG_FR 1">
        <a:dk1>
          <a:srgbClr val="E60028"/>
        </a:dk1>
        <a:lt1>
          <a:srgbClr val="FFFFFF"/>
        </a:lt1>
        <a:dk2>
          <a:srgbClr val="7DBE78"/>
        </a:dk2>
        <a:lt2>
          <a:srgbClr val="6E6E87"/>
        </a:lt2>
        <a:accent1>
          <a:srgbClr val="69AACD"/>
        </a:accent1>
        <a:accent2>
          <a:srgbClr val="C8AAC3"/>
        </a:accent2>
        <a:accent3>
          <a:srgbClr val="FFFFFF"/>
        </a:accent3>
        <a:accent4>
          <a:srgbClr val="C40021"/>
        </a:accent4>
        <a:accent5>
          <a:srgbClr val="B9D2E3"/>
        </a:accent5>
        <a:accent6>
          <a:srgbClr val="B59AB0"/>
        </a:accent6>
        <a:hlink>
          <a:srgbClr val="F0B93C"/>
        </a:hlink>
        <a:folHlink>
          <a:srgbClr val="C86E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6.xml><?xml version="1.0" encoding="utf-8"?>
<a:theme xmlns:a="http://schemas.openxmlformats.org/drawingml/2006/main" name="22_SG_FR">
  <a:themeElements>
    <a:clrScheme name="22_SG_FR 1">
      <a:dk1>
        <a:srgbClr val="E60028"/>
      </a:dk1>
      <a:lt1>
        <a:srgbClr val="FFFFFF"/>
      </a:lt1>
      <a:dk2>
        <a:srgbClr val="7DBE78"/>
      </a:dk2>
      <a:lt2>
        <a:srgbClr val="6E6E87"/>
      </a:lt2>
      <a:accent1>
        <a:srgbClr val="69AACD"/>
      </a:accent1>
      <a:accent2>
        <a:srgbClr val="C8AAC3"/>
      </a:accent2>
      <a:accent3>
        <a:srgbClr val="FFFFFF"/>
      </a:accent3>
      <a:accent4>
        <a:srgbClr val="C40021"/>
      </a:accent4>
      <a:accent5>
        <a:srgbClr val="B9D2E3"/>
      </a:accent5>
      <a:accent6>
        <a:srgbClr val="B59AB0"/>
      </a:accent6>
      <a:hlink>
        <a:srgbClr val="F0B93C"/>
      </a:hlink>
      <a:folHlink>
        <a:srgbClr val="C86E5A"/>
      </a:folHlink>
    </a:clrScheme>
    <a:fontScheme name="22_SG_FR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2_SG_FR 1">
        <a:dk1>
          <a:srgbClr val="E60028"/>
        </a:dk1>
        <a:lt1>
          <a:srgbClr val="FFFFFF"/>
        </a:lt1>
        <a:dk2>
          <a:srgbClr val="7DBE78"/>
        </a:dk2>
        <a:lt2>
          <a:srgbClr val="6E6E87"/>
        </a:lt2>
        <a:accent1>
          <a:srgbClr val="69AACD"/>
        </a:accent1>
        <a:accent2>
          <a:srgbClr val="C8AAC3"/>
        </a:accent2>
        <a:accent3>
          <a:srgbClr val="FFFFFF"/>
        </a:accent3>
        <a:accent4>
          <a:srgbClr val="C40021"/>
        </a:accent4>
        <a:accent5>
          <a:srgbClr val="B9D2E3"/>
        </a:accent5>
        <a:accent6>
          <a:srgbClr val="B59AB0"/>
        </a:accent6>
        <a:hlink>
          <a:srgbClr val="F0B93C"/>
        </a:hlink>
        <a:folHlink>
          <a:srgbClr val="C86E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7.xml><?xml version="1.0" encoding="utf-8"?>
<a:theme xmlns:a="http://schemas.openxmlformats.org/drawingml/2006/main" name="23_SG_FR">
  <a:themeElements>
    <a:clrScheme name="23_SG_FR 1">
      <a:dk1>
        <a:srgbClr val="E60028"/>
      </a:dk1>
      <a:lt1>
        <a:srgbClr val="FFFFFF"/>
      </a:lt1>
      <a:dk2>
        <a:srgbClr val="7DBE78"/>
      </a:dk2>
      <a:lt2>
        <a:srgbClr val="6E6E87"/>
      </a:lt2>
      <a:accent1>
        <a:srgbClr val="69AACD"/>
      </a:accent1>
      <a:accent2>
        <a:srgbClr val="C8AAC3"/>
      </a:accent2>
      <a:accent3>
        <a:srgbClr val="FFFFFF"/>
      </a:accent3>
      <a:accent4>
        <a:srgbClr val="C40021"/>
      </a:accent4>
      <a:accent5>
        <a:srgbClr val="B9D2E3"/>
      </a:accent5>
      <a:accent6>
        <a:srgbClr val="B59AB0"/>
      </a:accent6>
      <a:hlink>
        <a:srgbClr val="F0B93C"/>
      </a:hlink>
      <a:folHlink>
        <a:srgbClr val="C86E5A"/>
      </a:folHlink>
    </a:clrScheme>
    <a:fontScheme name="23_SG_FR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3_SG_FR 1">
        <a:dk1>
          <a:srgbClr val="E60028"/>
        </a:dk1>
        <a:lt1>
          <a:srgbClr val="FFFFFF"/>
        </a:lt1>
        <a:dk2>
          <a:srgbClr val="7DBE78"/>
        </a:dk2>
        <a:lt2>
          <a:srgbClr val="6E6E87"/>
        </a:lt2>
        <a:accent1>
          <a:srgbClr val="69AACD"/>
        </a:accent1>
        <a:accent2>
          <a:srgbClr val="C8AAC3"/>
        </a:accent2>
        <a:accent3>
          <a:srgbClr val="FFFFFF"/>
        </a:accent3>
        <a:accent4>
          <a:srgbClr val="C40021"/>
        </a:accent4>
        <a:accent5>
          <a:srgbClr val="B9D2E3"/>
        </a:accent5>
        <a:accent6>
          <a:srgbClr val="B59AB0"/>
        </a:accent6>
        <a:hlink>
          <a:srgbClr val="F0B93C"/>
        </a:hlink>
        <a:folHlink>
          <a:srgbClr val="C86E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8.xml><?xml version="1.0" encoding="utf-8"?>
<a:theme xmlns:a="http://schemas.openxmlformats.org/drawingml/2006/main" name="24_SG_FR">
  <a:themeElements>
    <a:clrScheme name="24_SG_F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00000"/>
      </a:accent1>
      <a:accent2>
        <a:srgbClr val="191966"/>
      </a:accent2>
      <a:accent3>
        <a:srgbClr val="FFFFFF"/>
      </a:accent3>
      <a:accent4>
        <a:srgbClr val="000000"/>
      </a:accent4>
      <a:accent5>
        <a:srgbClr val="DCAAAA"/>
      </a:accent5>
      <a:accent6>
        <a:srgbClr val="16165C"/>
      </a:accent6>
      <a:hlink>
        <a:srgbClr val="000000"/>
      </a:hlink>
      <a:folHlink>
        <a:srgbClr val="000000"/>
      </a:folHlink>
    </a:clrScheme>
    <a:fontScheme name="24_SG_FR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4_SG_F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0000"/>
        </a:accent1>
        <a:accent2>
          <a:srgbClr val="191966"/>
        </a:accent2>
        <a:accent3>
          <a:srgbClr val="FFFFFF"/>
        </a:accent3>
        <a:accent4>
          <a:srgbClr val="000000"/>
        </a:accent4>
        <a:accent5>
          <a:srgbClr val="DCAAAA"/>
        </a:accent5>
        <a:accent6>
          <a:srgbClr val="16165C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9.xml><?xml version="1.0" encoding="utf-8"?>
<a:theme xmlns:a="http://schemas.openxmlformats.org/drawingml/2006/main" name="25_SG_FR">
  <a:themeElements>
    <a:clrScheme name="25_SG_F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00000"/>
      </a:accent1>
      <a:accent2>
        <a:srgbClr val="191966"/>
      </a:accent2>
      <a:accent3>
        <a:srgbClr val="FFFFFF"/>
      </a:accent3>
      <a:accent4>
        <a:srgbClr val="000000"/>
      </a:accent4>
      <a:accent5>
        <a:srgbClr val="DCAAAA"/>
      </a:accent5>
      <a:accent6>
        <a:srgbClr val="16165C"/>
      </a:accent6>
      <a:hlink>
        <a:srgbClr val="000000"/>
      </a:hlink>
      <a:folHlink>
        <a:srgbClr val="000000"/>
      </a:folHlink>
    </a:clrScheme>
    <a:fontScheme name="25_SG_FR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5_SG_F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0000"/>
        </a:accent1>
        <a:accent2>
          <a:srgbClr val="191966"/>
        </a:accent2>
        <a:accent3>
          <a:srgbClr val="FFFFFF"/>
        </a:accent3>
        <a:accent4>
          <a:srgbClr val="000000"/>
        </a:accent4>
        <a:accent5>
          <a:srgbClr val="DCAAAA"/>
        </a:accent5>
        <a:accent6>
          <a:srgbClr val="16165C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SG_FR_Sommaire_2">
  <a:themeElements>
    <a:clrScheme name="1_SG_FR_Sommaire_2 1">
      <a:dk1>
        <a:srgbClr val="E60028"/>
      </a:dk1>
      <a:lt1>
        <a:srgbClr val="FFFFFF"/>
      </a:lt1>
      <a:dk2>
        <a:srgbClr val="7DBE78"/>
      </a:dk2>
      <a:lt2>
        <a:srgbClr val="6E6E87"/>
      </a:lt2>
      <a:accent1>
        <a:srgbClr val="69AACD"/>
      </a:accent1>
      <a:accent2>
        <a:srgbClr val="C8AAC3"/>
      </a:accent2>
      <a:accent3>
        <a:srgbClr val="FFFFFF"/>
      </a:accent3>
      <a:accent4>
        <a:srgbClr val="C40021"/>
      </a:accent4>
      <a:accent5>
        <a:srgbClr val="B9D2E3"/>
      </a:accent5>
      <a:accent6>
        <a:srgbClr val="B59AB0"/>
      </a:accent6>
      <a:hlink>
        <a:srgbClr val="F0B93C"/>
      </a:hlink>
      <a:folHlink>
        <a:srgbClr val="C86E5A"/>
      </a:folHlink>
    </a:clrScheme>
    <a:fontScheme name="1_SG_FR_Sommaire_2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  <a:cs typeface="Arial" charset="0"/>
          </a:defRPr>
        </a:defPPr>
      </a:lstStyle>
    </a:lnDef>
  </a:objectDefaults>
  <a:extraClrSchemeLst>
    <a:extraClrScheme>
      <a:clrScheme name="1_SG_FR_Sommaire_2 1">
        <a:dk1>
          <a:srgbClr val="E60028"/>
        </a:dk1>
        <a:lt1>
          <a:srgbClr val="FFFFFF"/>
        </a:lt1>
        <a:dk2>
          <a:srgbClr val="7DBE78"/>
        </a:dk2>
        <a:lt2>
          <a:srgbClr val="6E6E87"/>
        </a:lt2>
        <a:accent1>
          <a:srgbClr val="69AACD"/>
        </a:accent1>
        <a:accent2>
          <a:srgbClr val="C8AAC3"/>
        </a:accent2>
        <a:accent3>
          <a:srgbClr val="FFFFFF"/>
        </a:accent3>
        <a:accent4>
          <a:srgbClr val="C40021"/>
        </a:accent4>
        <a:accent5>
          <a:srgbClr val="B9D2E3"/>
        </a:accent5>
        <a:accent6>
          <a:srgbClr val="B59AB0"/>
        </a:accent6>
        <a:hlink>
          <a:srgbClr val="F0B93C"/>
        </a:hlink>
        <a:folHlink>
          <a:srgbClr val="C86E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0.xml><?xml version="1.0" encoding="utf-8"?>
<a:theme xmlns:a="http://schemas.openxmlformats.org/drawingml/2006/main" name="26_SG_FR">
  <a:themeElements>
    <a:clrScheme name="26_SG_FR 1">
      <a:dk1>
        <a:srgbClr val="E60028"/>
      </a:dk1>
      <a:lt1>
        <a:srgbClr val="FFFFFF"/>
      </a:lt1>
      <a:dk2>
        <a:srgbClr val="7DBE78"/>
      </a:dk2>
      <a:lt2>
        <a:srgbClr val="6E6E87"/>
      </a:lt2>
      <a:accent1>
        <a:srgbClr val="69AACD"/>
      </a:accent1>
      <a:accent2>
        <a:srgbClr val="C8AAC3"/>
      </a:accent2>
      <a:accent3>
        <a:srgbClr val="FFFFFF"/>
      </a:accent3>
      <a:accent4>
        <a:srgbClr val="C40021"/>
      </a:accent4>
      <a:accent5>
        <a:srgbClr val="B9D2E3"/>
      </a:accent5>
      <a:accent6>
        <a:srgbClr val="B59AB0"/>
      </a:accent6>
      <a:hlink>
        <a:srgbClr val="F0B93C"/>
      </a:hlink>
      <a:folHlink>
        <a:srgbClr val="C86E5A"/>
      </a:folHlink>
    </a:clrScheme>
    <a:fontScheme name="26_SG_FR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6_SG_FR 1">
        <a:dk1>
          <a:srgbClr val="E60028"/>
        </a:dk1>
        <a:lt1>
          <a:srgbClr val="FFFFFF"/>
        </a:lt1>
        <a:dk2>
          <a:srgbClr val="7DBE78"/>
        </a:dk2>
        <a:lt2>
          <a:srgbClr val="6E6E87"/>
        </a:lt2>
        <a:accent1>
          <a:srgbClr val="69AACD"/>
        </a:accent1>
        <a:accent2>
          <a:srgbClr val="C8AAC3"/>
        </a:accent2>
        <a:accent3>
          <a:srgbClr val="FFFFFF"/>
        </a:accent3>
        <a:accent4>
          <a:srgbClr val="C40021"/>
        </a:accent4>
        <a:accent5>
          <a:srgbClr val="B9D2E3"/>
        </a:accent5>
        <a:accent6>
          <a:srgbClr val="B59AB0"/>
        </a:accent6>
        <a:hlink>
          <a:srgbClr val="F0B93C"/>
        </a:hlink>
        <a:folHlink>
          <a:srgbClr val="C86E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1.xml><?xml version="1.0" encoding="utf-8"?>
<a:theme xmlns:a="http://schemas.openxmlformats.org/drawingml/2006/main" name="27_SG_FR">
  <a:themeElements>
    <a:clrScheme name="27_SG_FR 1">
      <a:dk1>
        <a:srgbClr val="E60028"/>
      </a:dk1>
      <a:lt1>
        <a:srgbClr val="FFFFFF"/>
      </a:lt1>
      <a:dk2>
        <a:srgbClr val="7DBE78"/>
      </a:dk2>
      <a:lt2>
        <a:srgbClr val="6E6E87"/>
      </a:lt2>
      <a:accent1>
        <a:srgbClr val="69AACD"/>
      </a:accent1>
      <a:accent2>
        <a:srgbClr val="C8AAC3"/>
      </a:accent2>
      <a:accent3>
        <a:srgbClr val="FFFFFF"/>
      </a:accent3>
      <a:accent4>
        <a:srgbClr val="C40021"/>
      </a:accent4>
      <a:accent5>
        <a:srgbClr val="B9D2E3"/>
      </a:accent5>
      <a:accent6>
        <a:srgbClr val="B59AB0"/>
      </a:accent6>
      <a:hlink>
        <a:srgbClr val="F0B93C"/>
      </a:hlink>
      <a:folHlink>
        <a:srgbClr val="C86E5A"/>
      </a:folHlink>
    </a:clrScheme>
    <a:fontScheme name="27_SG_FR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7_SG_FR 1">
        <a:dk1>
          <a:srgbClr val="E60028"/>
        </a:dk1>
        <a:lt1>
          <a:srgbClr val="FFFFFF"/>
        </a:lt1>
        <a:dk2>
          <a:srgbClr val="7DBE78"/>
        </a:dk2>
        <a:lt2>
          <a:srgbClr val="6E6E87"/>
        </a:lt2>
        <a:accent1>
          <a:srgbClr val="69AACD"/>
        </a:accent1>
        <a:accent2>
          <a:srgbClr val="C8AAC3"/>
        </a:accent2>
        <a:accent3>
          <a:srgbClr val="FFFFFF"/>
        </a:accent3>
        <a:accent4>
          <a:srgbClr val="C40021"/>
        </a:accent4>
        <a:accent5>
          <a:srgbClr val="B9D2E3"/>
        </a:accent5>
        <a:accent6>
          <a:srgbClr val="B59AB0"/>
        </a:accent6>
        <a:hlink>
          <a:srgbClr val="F0B93C"/>
        </a:hlink>
        <a:folHlink>
          <a:srgbClr val="C86E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2.xml><?xml version="1.0" encoding="utf-8"?>
<a:theme xmlns:a="http://schemas.openxmlformats.org/drawingml/2006/main" name="28_SG_FR">
  <a:themeElements>
    <a:clrScheme name="28_SG_FR 1">
      <a:dk1>
        <a:srgbClr val="E60028"/>
      </a:dk1>
      <a:lt1>
        <a:srgbClr val="FFFFFF"/>
      </a:lt1>
      <a:dk2>
        <a:srgbClr val="7DBE78"/>
      </a:dk2>
      <a:lt2>
        <a:srgbClr val="6E6E87"/>
      </a:lt2>
      <a:accent1>
        <a:srgbClr val="69AACD"/>
      </a:accent1>
      <a:accent2>
        <a:srgbClr val="C8AAC3"/>
      </a:accent2>
      <a:accent3>
        <a:srgbClr val="FFFFFF"/>
      </a:accent3>
      <a:accent4>
        <a:srgbClr val="C40021"/>
      </a:accent4>
      <a:accent5>
        <a:srgbClr val="B9D2E3"/>
      </a:accent5>
      <a:accent6>
        <a:srgbClr val="B59AB0"/>
      </a:accent6>
      <a:hlink>
        <a:srgbClr val="F0B93C"/>
      </a:hlink>
      <a:folHlink>
        <a:srgbClr val="C86E5A"/>
      </a:folHlink>
    </a:clrScheme>
    <a:fontScheme name="28_SG_FR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8_SG_FR 1">
        <a:dk1>
          <a:srgbClr val="E60028"/>
        </a:dk1>
        <a:lt1>
          <a:srgbClr val="FFFFFF"/>
        </a:lt1>
        <a:dk2>
          <a:srgbClr val="7DBE78"/>
        </a:dk2>
        <a:lt2>
          <a:srgbClr val="6E6E87"/>
        </a:lt2>
        <a:accent1>
          <a:srgbClr val="69AACD"/>
        </a:accent1>
        <a:accent2>
          <a:srgbClr val="C8AAC3"/>
        </a:accent2>
        <a:accent3>
          <a:srgbClr val="FFFFFF"/>
        </a:accent3>
        <a:accent4>
          <a:srgbClr val="C40021"/>
        </a:accent4>
        <a:accent5>
          <a:srgbClr val="B9D2E3"/>
        </a:accent5>
        <a:accent6>
          <a:srgbClr val="B59AB0"/>
        </a:accent6>
        <a:hlink>
          <a:srgbClr val="F0B93C"/>
        </a:hlink>
        <a:folHlink>
          <a:srgbClr val="C86E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3.xml><?xml version="1.0" encoding="utf-8"?>
<a:theme xmlns:a="http://schemas.openxmlformats.org/drawingml/2006/main" name="29_SG_FR">
  <a:themeElements>
    <a:clrScheme name="29_SG_FR 1">
      <a:dk1>
        <a:srgbClr val="E60028"/>
      </a:dk1>
      <a:lt1>
        <a:srgbClr val="FFFFFF"/>
      </a:lt1>
      <a:dk2>
        <a:srgbClr val="7DBE78"/>
      </a:dk2>
      <a:lt2>
        <a:srgbClr val="6E6E87"/>
      </a:lt2>
      <a:accent1>
        <a:srgbClr val="69AACD"/>
      </a:accent1>
      <a:accent2>
        <a:srgbClr val="C8AAC3"/>
      </a:accent2>
      <a:accent3>
        <a:srgbClr val="FFFFFF"/>
      </a:accent3>
      <a:accent4>
        <a:srgbClr val="C40021"/>
      </a:accent4>
      <a:accent5>
        <a:srgbClr val="B9D2E3"/>
      </a:accent5>
      <a:accent6>
        <a:srgbClr val="B59AB0"/>
      </a:accent6>
      <a:hlink>
        <a:srgbClr val="F0B93C"/>
      </a:hlink>
      <a:folHlink>
        <a:srgbClr val="C86E5A"/>
      </a:folHlink>
    </a:clrScheme>
    <a:fontScheme name="29_SG_FR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9_SG_FR 1">
        <a:dk1>
          <a:srgbClr val="E60028"/>
        </a:dk1>
        <a:lt1>
          <a:srgbClr val="FFFFFF"/>
        </a:lt1>
        <a:dk2>
          <a:srgbClr val="7DBE78"/>
        </a:dk2>
        <a:lt2>
          <a:srgbClr val="6E6E87"/>
        </a:lt2>
        <a:accent1>
          <a:srgbClr val="69AACD"/>
        </a:accent1>
        <a:accent2>
          <a:srgbClr val="C8AAC3"/>
        </a:accent2>
        <a:accent3>
          <a:srgbClr val="FFFFFF"/>
        </a:accent3>
        <a:accent4>
          <a:srgbClr val="C40021"/>
        </a:accent4>
        <a:accent5>
          <a:srgbClr val="B9D2E3"/>
        </a:accent5>
        <a:accent6>
          <a:srgbClr val="B59AB0"/>
        </a:accent6>
        <a:hlink>
          <a:srgbClr val="F0B93C"/>
        </a:hlink>
        <a:folHlink>
          <a:srgbClr val="C86E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4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5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_SG_FR_Chapitre_1">
  <a:themeElements>
    <a:clrScheme name="1_SG_FR_Chapitre_1 1">
      <a:dk1>
        <a:srgbClr val="E60028"/>
      </a:dk1>
      <a:lt1>
        <a:srgbClr val="FFFFFF"/>
      </a:lt1>
      <a:dk2>
        <a:srgbClr val="7DBE78"/>
      </a:dk2>
      <a:lt2>
        <a:srgbClr val="6E6E87"/>
      </a:lt2>
      <a:accent1>
        <a:srgbClr val="69AACD"/>
      </a:accent1>
      <a:accent2>
        <a:srgbClr val="C8AAC3"/>
      </a:accent2>
      <a:accent3>
        <a:srgbClr val="FFFFFF"/>
      </a:accent3>
      <a:accent4>
        <a:srgbClr val="C40021"/>
      </a:accent4>
      <a:accent5>
        <a:srgbClr val="B9D2E3"/>
      </a:accent5>
      <a:accent6>
        <a:srgbClr val="B59AB0"/>
      </a:accent6>
      <a:hlink>
        <a:srgbClr val="F0B93C"/>
      </a:hlink>
      <a:folHlink>
        <a:srgbClr val="C86E5A"/>
      </a:folHlink>
    </a:clrScheme>
    <a:fontScheme name="1_SG_FR_Chapitre_1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  <a:cs typeface="Arial" charset="0"/>
          </a:defRPr>
        </a:defPPr>
      </a:lstStyle>
    </a:lnDef>
  </a:objectDefaults>
  <a:extraClrSchemeLst>
    <a:extraClrScheme>
      <a:clrScheme name="1_SG_FR_Chapitre_1 1">
        <a:dk1>
          <a:srgbClr val="E60028"/>
        </a:dk1>
        <a:lt1>
          <a:srgbClr val="FFFFFF"/>
        </a:lt1>
        <a:dk2>
          <a:srgbClr val="7DBE78"/>
        </a:dk2>
        <a:lt2>
          <a:srgbClr val="6E6E87"/>
        </a:lt2>
        <a:accent1>
          <a:srgbClr val="69AACD"/>
        </a:accent1>
        <a:accent2>
          <a:srgbClr val="C8AAC3"/>
        </a:accent2>
        <a:accent3>
          <a:srgbClr val="FFFFFF"/>
        </a:accent3>
        <a:accent4>
          <a:srgbClr val="C40021"/>
        </a:accent4>
        <a:accent5>
          <a:srgbClr val="B9D2E3"/>
        </a:accent5>
        <a:accent6>
          <a:srgbClr val="B59AB0"/>
        </a:accent6>
        <a:hlink>
          <a:srgbClr val="F0B93C"/>
        </a:hlink>
        <a:folHlink>
          <a:srgbClr val="C86E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5_SG_FR">
  <a:themeElements>
    <a:clrScheme name="5_SG_FR 1">
      <a:dk1>
        <a:srgbClr val="E60028"/>
      </a:dk1>
      <a:lt1>
        <a:srgbClr val="FFFFFF"/>
      </a:lt1>
      <a:dk2>
        <a:srgbClr val="7DBE78"/>
      </a:dk2>
      <a:lt2>
        <a:srgbClr val="6E6E87"/>
      </a:lt2>
      <a:accent1>
        <a:srgbClr val="69AACD"/>
      </a:accent1>
      <a:accent2>
        <a:srgbClr val="C8AAC3"/>
      </a:accent2>
      <a:accent3>
        <a:srgbClr val="FFFFFF"/>
      </a:accent3>
      <a:accent4>
        <a:srgbClr val="C40021"/>
      </a:accent4>
      <a:accent5>
        <a:srgbClr val="B9D2E3"/>
      </a:accent5>
      <a:accent6>
        <a:srgbClr val="B59AB0"/>
      </a:accent6>
      <a:hlink>
        <a:srgbClr val="F0B93C"/>
      </a:hlink>
      <a:folHlink>
        <a:srgbClr val="C86E5A"/>
      </a:folHlink>
    </a:clrScheme>
    <a:fontScheme name="5_SG_FR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  <a:cs typeface="Arial" charset="0"/>
          </a:defRPr>
        </a:defPPr>
      </a:lstStyle>
    </a:lnDef>
  </a:objectDefaults>
  <a:extraClrSchemeLst>
    <a:extraClrScheme>
      <a:clrScheme name="5_SG_FR 1">
        <a:dk1>
          <a:srgbClr val="E60028"/>
        </a:dk1>
        <a:lt1>
          <a:srgbClr val="FFFFFF"/>
        </a:lt1>
        <a:dk2>
          <a:srgbClr val="7DBE78"/>
        </a:dk2>
        <a:lt2>
          <a:srgbClr val="6E6E87"/>
        </a:lt2>
        <a:accent1>
          <a:srgbClr val="69AACD"/>
        </a:accent1>
        <a:accent2>
          <a:srgbClr val="C8AAC3"/>
        </a:accent2>
        <a:accent3>
          <a:srgbClr val="FFFFFF"/>
        </a:accent3>
        <a:accent4>
          <a:srgbClr val="C40021"/>
        </a:accent4>
        <a:accent5>
          <a:srgbClr val="B9D2E3"/>
        </a:accent5>
        <a:accent6>
          <a:srgbClr val="B59AB0"/>
        </a:accent6>
        <a:hlink>
          <a:srgbClr val="F0B93C"/>
        </a:hlink>
        <a:folHlink>
          <a:srgbClr val="C86E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7_SG_FR">
  <a:themeElements>
    <a:clrScheme name="7_SG_F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00000"/>
      </a:accent1>
      <a:accent2>
        <a:srgbClr val="191966"/>
      </a:accent2>
      <a:accent3>
        <a:srgbClr val="FFFFFF"/>
      </a:accent3>
      <a:accent4>
        <a:srgbClr val="000000"/>
      </a:accent4>
      <a:accent5>
        <a:srgbClr val="DCAAAA"/>
      </a:accent5>
      <a:accent6>
        <a:srgbClr val="16165C"/>
      </a:accent6>
      <a:hlink>
        <a:srgbClr val="000000"/>
      </a:hlink>
      <a:folHlink>
        <a:srgbClr val="000000"/>
      </a:folHlink>
    </a:clrScheme>
    <a:fontScheme name="7_SG_FR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  <a:cs typeface="Arial" charset="0"/>
          </a:defRPr>
        </a:defPPr>
      </a:lstStyle>
    </a:lnDef>
  </a:objectDefaults>
  <a:extraClrSchemeLst>
    <a:extraClrScheme>
      <a:clrScheme name="7_SG_F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0000"/>
        </a:accent1>
        <a:accent2>
          <a:srgbClr val="191966"/>
        </a:accent2>
        <a:accent3>
          <a:srgbClr val="FFFFFF"/>
        </a:accent3>
        <a:accent4>
          <a:srgbClr val="000000"/>
        </a:accent4>
        <a:accent5>
          <a:srgbClr val="DCAAAA"/>
        </a:accent5>
        <a:accent6>
          <a:srgbClr val="16165C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2_SG_FR_Sommaire_1">
  <a:themeElements>
    <a:clrScheme name="2_SG_FR_Sommaire_1 1">
      <a:dk1>
        <a:srgbClr val="E60028"/>
      </a:dk1>
      <a:lt1>
        <a:srgbClr val="FFFFFF"/>
      </a:lt1>
      <a:dk2>
        <a:srgbClr val="7DBE78"/>
      </a:dk2>
      <a:lt2>
        <a:srgbClr val="6E6E87"/>
      </a:lt2>
      <a:accent1>
        <a:srgbClr val="69AACD"/>
      </a:accent1>
      <a:accent2>
        <a:srgbClr val="C8AAC3"/>
      </a:accent2>
      <a:accent3>
        <a:srgbClr val="FFFFFF"/>
      </a:accent3>
      <a:accent4>
        <a:srgbClr val="C40021"/>
      </a:accent4>
      <a:accent5>
        <a:srgbClr val="B9D2E3"/>
      </a:accent5>
      <a:accent6>
        <a:srgbClr val="B59AB0"/>
      </a:accent6>
      <a:hlink>
        <a:srgbClr val="F0B93C"/>
      </a:hlink>
      <a:folHlink>
        <a:srgbClr val="C86E5A"/>
      </a:folHlink>
    </a:clrScheme>
    <a:fontScheme name="2_SG_FR_Sommaire_1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  <a:cs typeface="Arial" charset="0"/>
          </a:defRPr>
        </a:defPPr>
      </a:lstStyle>
    </a:lnDef>
  </a:objectDefaults>
  <a:extraClrSchemeLst>
    <a:extraClrScheme>
      <a:clrScheme name="2_SG_FR_Sommaire_1 1">
        <a:dk1>
          <a:srgbClr val="E60028"/>
        </a:dk1>
        <a:lt1>
          <a:srgbClr val="FFFFFF"/>
        </a:lt1>
        <a:dk2>
          <a:srgbClr val="7DBE78"/>
        </a:dk2>
        <a:lt2>
          <a:srgbClr val="6E6E87"/>
        </a:lt2>
        <a:accent1>
          <a:srgbClr val="69AACD"/>
        </a:accent1>
        <a:accent2>
          <a:srgbClr val="C8AAC3"/>
        </a:accent2>
        <a:accent3>
          <a:srgbClr val="FFFFFF"/>
        </a:accent3>
        <a:accent4>
          <a:srgbClr val="C40021"/>
        </a:accent4>
        <a:accent5>
          <a:srgbClr val="B9D2E3"/>
        </a:accent5>
        <a:accent6>
          <a:srgbClr val="B59AB0"/>
        </a:accent6>
        <a:hlink>
          <a:srgbClr val="F0B93C"/>
        </a:hlink>
        <a:folHlink>
          <a:srgbClr val="C86E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0_SG_FR">
  <a:themeElements>
    <a:clrScheme name="10_SG_F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00000"/>
      </a:accent1>
      <a:accent2>
        <a:srgbClr val="191966"/>
      </a:accent2>
      <a:accent3>
        <a:srgbClr val="FFFFFF"/>
      </a:accent3>
      <a:accent4>
        <a:srgbClr val="000000"/>
      </a:accent4>
      <a:accent5>
        <a:srgbClr val="DCAAAA"/>
      </a:accent5>
      <a:accent6>
        <a:srgbClr val="16165C"/>
      </a:accent6>
      <a:hlink>
        <a:srgbClr val="000000"/>
      </a:hlink>
      <a:folHlink>
        <a:srgbClr val="000000"/>
      </a:folHlink>
    </a:clrScheme>
    <a:fontScheme name="10_SG_FR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  <a:cs typeface="Arial" charset="0"/>
          </a:defRPr>
        </a:defPPr>
      </a:lstStyle>
    </a:lnDef>
  </a:objectDefaults>
  <a:extraClrSchemeLst>
    <a:extraClrScheme>
      <a:clrScheme name="10_SG_F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0000"/>
        </a:accent1>
        <a:accent2>
          <a:srgbClr val="191966"/>
        </a:accent2>
        <a:accent3>
          <a:srgbClr val="FFFFFF"/>
        </a:accent3>
        <a:accent4>
          <a:srgbClr val="000000"/>
        </a:accent4>
        <a:accent5>
          <a:srgbClr val="DCAAAA"/>
        </a:accent5>
        <a:accent6>
          <a:srgbClr val="16165C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8_SG_FR">
  <a:themeElements>
    <a:clrScheme name="8_SG_F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00000"/>
      </a:accent1>
      <a:accent2>
        <a:srgbClr val="191966"/>
      </a:accent2>
      <a:accent3>
        <a:srgbClr val="FFFFFF"/>
      </a:accent3>
      <a:accent4>
        <a:srgbClr val="000000"/>
      </a:accent4>
      <a:accent5>
        <a:srgbClr val="DCAAAA"/>
      </a:accent5>
      <a:accent6>
        <a:srgbClr val="16165C"/>
      </a:accent6>
      <a:hlink>
        <a:srgbClr val="000000"/>
      </a:hlink>
      <a:folHlink>
        <a:srgbClr val="000000"/>
      </a:folHlink>
    </a:clrScheme>
    <a:fontScheme name="8_SG_FR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  <a:cs typeface="Arial" charset="0"/>
          </a:defRPr>
        </a:defPPr>
      </a:lstStyle>
    </a:lnDef>
  </a:objectDefaults>
  <a:extraClrSchemeLst>
    <a:extraClrScheme>
      <a:clrScheme name="8_SG_F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0000"/>
        </a:accent1>
        <a:accent2>
          <a:srgbClr val="191966"/>
        </a:accent2>
        <a:accent3>
          <a:srgbClr val="FFFFFF"/>
        </a:accent3>
        <a:accent4>
          <a:srgbClr val="000000"/>
        </a:accent4>
        <a:accent5>
          <a:srgbClr val="DCAAAA"/>
        </a:accent5>
        <a:accent6>
          <a:srgbClr val="16165C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43A41F4C1225F4DB34F55FD52641E19" ma:contentTypeVersion="0" ma:contentTypeDescription="Create a new document." ma:contentTypeScope="" ma:versionID="f63f7031fec9dffbc9003a60efcc31fc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34286CA-6AE9-4BEA-8172-B7E93774BED6}">
  <ds:schemaRefs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79AE70D8-819D-4276-851D-194BE771AE5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D4543CA1-4360-47A3-B78E-D5807423FD0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G_FR</Template>
  <TotalTime>15191</TotalTime>
  <Words>958</Words>
  <Application>Microsoft Office PowerPoint</Application>
  <PresentationFormat>Affichage à l'écran (4:3)</PresentationFormat>
  <Paragraphs>211</Paragraphs>
  <Slides>9</Slides>
  <Notes>6</Notes>
  <HiddenSlides>0</HiddenSlides>
  <MMClips>0</MMClips>
  <ScaleCrop>false</ScaleCrop>
  <HeadingPairs>
    <vt:vector size="4" baseType="variant">
      <vt:variant>
        <vt:lpstr>Thème</vt:lpstr>
      </vt:variant>
      <vt:variant>
        <vt:i4>33</vt:i4>
      </vt:variant>
      <vt:variant>
        <vt:lpstr>Titres des diapositives</vt:lpstr>
      </vt:variant>
      <vt:variant>
        <vt:i4>9</vt:i4>
      </vt:variant>
    </vt:vector>
  </HeadingPairs>
  <TitlesOfParts>
    <vt:vector size="42" baseType="lpstr">
      <vt:lpstr>SG_FR</vt:lpstr>
      <vt:lpstr>1_SG_FR_Sommaire_1</vt:lpstr>
      <vt:lpstr>1_SG_FR_Sommaire_2</vt:lpstr>
      <vt:lpstr>1_SG_FR_Chapitre_1</vt:lpstr>
      <vt:lpstr>5_SG_FR</vt:lpstr>
      <vt:lpstr>7_SG_FR</vt:lpstr>
      <vt:lpstr>2_SG_FR_Sommaire_1</vt:lpstr>
      <vt:lpstr>10_SG_FR</vt:lpstr>
      <vt:lpstr>8_SG_FR</vt:lpstr>
      <vt:lpstr>11_SG_FR</vt:lpstr>
      <vt:lpstr>3_SG_FR_Sommaire_1</vt:lpstr>
      <vt:lpstr>2_SG_FR</vt:lpstr>
      <vt:lpstr>3_SG_FR</vt:lpstr>
      <vt:lpstr>4_SG_FR</vt:lpstr>
      <vt:lpstr>12_SG_FR</vt:lpstr>
      <vt:lpstr>9_SG_FR</vt:lpstr>
      <vt:lpstr>6_SG_FR</vt:lpstr>
      <vt:lpstr>13_SG_FR</vt:lpstr>
      <vt:lpstr>14_SG_FR</vt:lpstr>
      <vt:lpstr>17_SG_FR</vt:lpstr>
      <vt:lpstr>18_SG_FR</vt:lpstr>
      <vt:lpstr>19_SG_FR</vt:lpstr>
      <vt:lpstr>20_SG_FR</vt:lpstr>
      <vt:lpstr>34_SG_FR</vt:lpstr>
      <vt:lpstr>21_SG_FR</vt:lpstr>
      <vt:lpstr>22_SG_FR</vt:lpstr>
      <vt:lpstr>23_SG_FR</vt:lpstr>
      <vt:lpstr>24_SG_FR</vt:lpstr>
      <vt:lpstr>25_SG_FR</vt:lpstr>
      <vt:lpstr>26_SG_FR</vt:lpstr>
      <vt:lpstr>27_SG_FR</vt:lpstr>
      <vt:lpstr>28_SG_FR</vt:lpstr>
      <vt:lpstr>29_SG_FR</vt:lpstr>
      <vt:lpstr>CoPIL Evolution des kits projets</vt:lpstr>
      <vt:lpstr>SOMMAIRE</vt:lpstr>
      <vt:lpstr>OBJECTIFS DU PROJET</vt:lpstr>
      <vt:lpstr>Diapositive 4</vt:lpstr>
      <vt:lpstr>PLANNING PREVISIONNEL</vt:lpstr>
      <vt:lpstr>Diapositive 6</vt:lpstr>
      <vt:lpstr>Diapositive 7</vt:lpstr>
      <vt:lpstr>RACI du projet</vt:lpstr>
      <vt:lpstr>Diapositive 9</vt:lpstr>
    </vt:vector>
  </TitlesOfParts>
  <Company>Société Général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ité de Pilotage Convergence GTS #21</dc:title>
  <dc:creator>DELECOUR J       ResgGtsRetApiScl</dc:creator>
  <cp:lastModifiedBy>JEROME DELECOUR (A335580)</cp:lastModifiedBy>
  <cp:revision>1085</cp:revision>
  <dcterms:created xsi:type="dcterms:W3CDTF">2011-06-06T13:25:31Z</dcterms:created>
  <dcterms:modified xsi:type="dcterms:W3CDTF">2015-04-22T08:25:44Z</dcterms:modified>
</cp:coreProperties>
</file>